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80" r:id="rId2"/>
    <p:sldId id="303" r:id="rId3"/>
    <p:sldId id="307" r:id="rId4"/>
    <p:sldId id="308" r:id="rId5"/>
    <p:sldId id="298" r:id="rId6"/>
    <p:sldId id="299" r:id="rId7"/>
    <p:sldId id="302" r:id="rId8"/>
    <p:sldId id="304" r:id="rId9"/>
    <p:sldId id="300" r:id="rId10"/>
    <p:sldId id="305" r:id="rId11"/>
    <p:sldId id="309" r:id="rId12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an Varela" initials="CV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1D5D"/>
    <a:srgbClr val="DB5D25"/>
    <a:srgbClr val="6E267B"/>
    <a:srgbClr val="1C86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49" autoAdjust="0"/>
    <p:restoredTop sz="94550" autoAdjust="0"/>
  </p:normalViewPr>
  <p:slideViewPr>
    <p:cSldViewPr snapToGrid="0">
      <p:cViewPr>
        <p:scale>
          <a:sx n="100" d="100"/>
          <a:sy n="100" d="100"/>
        </p:scale>
        <p:origin x="-1056" y="-23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63F4FE2-38D4-4F8D-BB31-90B83AC157FE}" type="doc">
      <dgm:prSet loTypeId="urn:microsoft.com/office/officeart/2005/8/layout/radial6" loCatId="cycle" qsTypeId="urn:microsoft.com/office/officeart/2005/8/quickstyle/3d5" qsCatId="3D" csTypeId="urn:microsoft.com/office/officeart/2005/8/colors/colorful3" csCatId="colorful" phldr="1"/>
      <dgm:spPr/>
      <dgm:t>
        <a:bodyPr/>
        <a:lstStyle/>
        <a:p>
          <a:endParaRPr lang="en-IE"/>
        </a:p>
      </dgm:t>
    </dgm:pt>
    <dgm:pt modelId="{05B22728-C74D-4760-B742-0FE15A84AFC8}">
      <dgm:prSet phldrT="[Text]"/>
      <dgm:spPr/>
      <dgm:t>
        <a:bodyPr/>
        <a:lstStyle/>
        <a:p>
          <a:r>
            <a:rPr lang="en-IE" dirty="0" err="1" smtClean="0"/>
            <a:t>Elasticsearch</a:t>
          </a:r>
          <a:endParaRPr lang="en-IE" dirty="0"/>
        </a:p>
      </dgm:t>
    </dgm:pt>
    <dgm:pt modelId="{3A928CEE-4E65-4FC4-B6D6-1041153BFF90}" type="parTrans" cxnId="{D126AD39-470A-44C8-A6BB-8E6CA86F4DAF}">
      <dgm:prSet/>
      <dgm:spPr/>
      <dgm:t>
        <a:bodyPr/>
        <a:lstStyle/>
        <a:p>
          <a:endParaRPr lang="en-IE"/>
        </a:p>
      </dgm:t>
    </dgm:pt>
    <dgm:pt modelId="{CB259285-B151-403F-AB96-09CCDCA65FCC}" type="sibTrans" cxnId="{D126AD39-470A-44C8-A6BB-8E6CA86F4DAF}">
      <dgm:prSet/>
      <dgm:spPr/>
      <dgm:t>
        <a:bodyPr/>
        <a:lstStyle/>
        <a:p>
          <a:endParaRPr lang="en-IE"/>
        </a:p>
      </dgm:t>
    </dgm:pt>
    <dgm:pt modelId="{32DEA169-27C8-4769-9659-C9CF1E302446}">
      <dgm:prSet phldrT="[Text]"/>
      <dgm:spPr/>
      <dgm:t>
        <a:bodyPr/>
        <a:lstStyle/>
        <a:p>
          <a:r>
            <a:rPr lang="en-IE" dirty="0" smtClean="0"/>
            <a:t>Inner Object</a:t>
          </a:r>
          <a:endParaRPr lang="en-IE" dirty="0"/>
        </a:p>
      </dgm:t>
    </dgm:pt>
    <dgm:pt modelId="{B7897E84-323B-43FF-B82D-0006BF4C8991}" type="parTrans" cxnId="{256F2920-3706-4F58-91FF-BF4733A12B51}">
      <dgm:prSet/>
      <dgm:spPr/>
      <dgm:t>
        <a:bodyPr/>
        <a:lstStyle/>
        <a:p>
          <a:endParaRPr lang="en-IE"/>
        </a:p>
      </dgm:t>
    </dgm:pt>
    <dgm:pt modelId="{4C5A7763-C446-40A9-9645-698DEAA947F0}" type="sibTrans" cxnId="{256F2920-3706-4F58-91FF-BF4733A12B51}">
      <dgm:prSet/>
      <dgm:spPr/>
      <dgm:t>
        <a:bodyPr/>
        <a:lstStyle/>
        <a:p>
          <a:endParaRPr lang="en-IE"/>
        </a:p>
      </dgm:t>
    </dgm:pt>
    <dgm:pt modelId="{5A69BBB0-7C49-46BE-BE32-EB71843BCD49}">
      <dgm:prSet phldrT="[Text]"/>
      <dgm:spPr/>
      <dgm:t>
        <a:bodyPr/>
        <a:lstStyle/>
        <a:p>
          <a:r>
            <a:rPr lang="en-IE" dirty="0" smtClean="0"/>
            <a:t>Nested</a:t>
          </a:r>
          <a:endParaRPr lang="en-IE" dirty="0"/>
        </a:p>
      </dgm:t>
    </dgm:pt>
    <dgm:pt modelId="{15FCFD07-D729-4CCB-B561-3358F5616402}" type="parTrans" cxnId="{D8765BD8-089E-4EB3-B83B-B2C24C4C5AFA}">
      <dgm:prSet/>
      <dgm:spPr/>
      <dgm:t>
        <a:bodyPr/>
        <a:lstStyle/>
        <a:p>
          <a:endParaRPr lang="en-IE"/>
        </a:p>
      </dgm:t>
    </dgm:pt>
    <dgm:pt modelId="{174F02A8-82BD-490F-A7BE-B852ACCE5830}" type="sibTrans" cxnId="{D8765BD8-089E-4EB3-B83B-B2C24C4C5AFA}">
      <dgm:prSet/>
      <dgm:spPr/>
      <dgm:t>
        <a:bodyPr/>
        <a:lstStyle/>
        <a:p>
          <a:endParaRPr lang="en-IE"/>
        </a:p>
      </dgm:t>
    </dgm:pt>
    <dgm:pt modelId="{6C5D0CF3-6C64-4A87-BF3A-4EF1D3B1BE36}">
      <dgm:prSet phldrT="[Text]"/>
      <dgm:spPr/>
      <dgm:t>
        <a:bodyPr/>
        <a:lstStyle/>
        <a:p>
          <a:r>
            <a:rPr lang="en-IE" dirty="0" smtClean="0"/>
            <a:t>_Parent/ _child</a:t>
          </a:r>
          <a:endParaRPr lang="en-IE" dirty="0"/>
        </a:p>
      </dgm:t>
    </dgm:pt>
    <dgm:pt modelId="{06EA40B5-6BF0-4E78-9B4D-14BCF8413D18}" type="parTrans" cxnId="{7029DF58-3A32-499D-B3E6-C25639EA9AD6}">
      <dgm:prSet/>
      <dgm:spPr/>
      <dgm:t>
        <a:bodyPr/>
        <a:lstStyle/>
        <a:p>
          <a:endParaRPr lang="en-IE"/>
        </a:p>
      </dgm:t>
    </dgm:pt>
    <dgm:pt modelId="{35542472-E31E-4DC1-8CF6-781201DD237F}" type="sibTrans" cxnId="{7029DF58-3A32-499D-B3E6-C25639EA9AD6}">
      <dgm:prSet/>
      <dgm:spPr/>
      <dgm:t>
        <a:bodyPr/>
        <a:lstStyle/>
        <a:p>
          <a:endParaRPr lang="en-IE"/>
        </a:p>
      </dgm:t>
    </dgm:pt>
    <dgm:pt modelId="{2225AA66-AFC8-4402-B370-227D12520965}">
      <dgm:prSet phldrT="[Text]"/>
      <dgm:spPr/>
      <dgm:t>
        <a:bodyPr/>
        <a:lstStyle/>
        <a:p>
          <a:r>
            <a:rPr lang="en-IE" dirty="0" smtClean="0"/>
            <a:t>Terms Lookup</a:t>
          </a:r>
          <a:endParaRPr lang="en-IE" dirty="0"/>
        </a:p>
      </dgm:t>
    </dgm:pt>
    <dgm:pt modelId="{4ED0C373-3602-4C14-B978-0391BBA68781}" type="parTrans" cxnId="{DF5A1529-D3E7-4FAD-9A59-A14CFB1F3AF2}">
      <dgm:prSet/>
      <dgm:spPr/>
      <dgm:t>
        <a:bodyPr/>
        <a:lstStyle/>
        <a:p>
          <a:endParaRPr lang="en-IE"/>
        </a:p>
      </dgm:t>
    </dgm:pt>
    <dgm:pt modelId="{30D768AB-905D-42E2-B65F-8A44EBBB29F4}" type="sibTrans" cxnId="{DF5A1529-D3E7-4FAD-9A59-A14CFB1F3AF2}">
      <dgm:prSet/>
      <dgm:spPr/>
      <dgm:t>
        <a:bodyPr/>
        <a:lstStyle/>
        <a:p>
          <a:endParaRPr lang="en-IE"/>
        </a:p>
      </dgm:t>
    </dgm:pt>
    <dgm:pt modelId="{D33649F8-1746-45AD-865A-C85B8CE045ED}" type="pres">
      <dgm:prSet presAssocID="{E63F4FE2-38D4-4F8D-BB31-90B83AC157FE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IE"/>
        </a:p>
      </dgm:t>
    </dgm:pt>
    <dgm:pt modelId="{6F0B0962-969C-4716-BF80-B57B945E3D21}" type="pres">
      <dgm:prSet presAssocID="{05B22728-C74D-4760-B742-0FE15A84AFC8}" presName="centerShape" presStyleLbl="node0" presStyleIdx="0" presStyleCnt="1"/>
      <dgm:spPr/>
      <dgm:t>
        <a:bodyPr/>
        <a:lstStyle/>
        <a:p>
          <a:endParaRPr lang="en-IE"/>
        </a:p>
      </dgm:t>
    </dgm:pt>
    <dgm:pt modelId="{295953C6-04C2-4939-AA8E-85CAEC564C50}" type="pres">
      <dgm:prSet presAssocID="{32DEA169-27C8-4769-9659-C9CF1E302446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8BB71D4B-88F0-452F-86AE-E6EF521A919A}" type="pres">
      <dgm:prSet presAssocID="{32DEA169-27C8-4769-9659-C9CF1E302446}" presName="dummy" presStyleCnt="0"/>
      <dgm:spPr/>
      <dgm:t>
        <a:bodyPr/>
        <a:lstStyle/>
        <a:p>
          <a:endParaRPr lang="en-IE"/>
        </a:p>
      </dgm:t>
    </dgm:pt>
    <dgm:pt modelId="{90DF979A-B186-48D1-B80C-0D1E439BB413}" type="pres">
      <dgm:prSet presAssocID="{4C5A7763-C446-40A9-9645-698DEAA947F0}" presName="sibTrans" presStyleLbl="sibTrans2D1" presStyleIdx="0" presStyleCnt="4"/>
      <dgm:spPr/>
      <dgm:t>
        <a:bodyPr/>
        <a:lstStyle/>
        <a:p>
          <a:endParaRPr lang="en-IE"/>
        </a:p>
      </dgm:t>
    </dgm:pt>
    <dgm:pt modelId="{1C043B34-B2A3-4415-BD26-4CD7FDEDF9C9}" type="pres">
      <dgm:prSet presAssocID="{5A69BBB0-7C49-46BE-BE32-EB71843BCD49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EF4F3584-C36B-4137-AD00-7AA172A019B2}" type="pres">
      <dgm:prSet presAssocID="{5A69BBB0-7C49-46BE-BE32-EB71843BCD49}" presName="dummy" presStyleCnt="0"/>
      <dgm:spPr/>
      <dgm:t>
        <a:bodyPr/>
        <a:lstStyle/>
        <a:p>
          <a:endParaRPr lang="en-IE"/>
        </a:p>
      </dgm:t>
    </dgm:pt>
    <dgm:pt modelId="{D5025B3F-2AAE-4EB3-961F-1A85FC54D1C2}" type="pres">
      <dgm:prSet presAssocID="{174F02A8-82BD-490F-A7BE-B852ACCE5830}" presName="sibTrans" presStyleLbl="sibTrans2D1" presStyleIdx="1" presStyleCnt="4"/>
      <dgm:spPr/>
      <dgm:t>
        <a:bodyPr/>
        <a:lstStyle/>
        <a:p>
          <a:endParaRPr lang="en-IE"/>
        </a:p>
      </dgm:t>
    </dgm:pt>
    <dgm:pt modelId="{23CD1B26-2D18-44DA-981A-A58DE89726FA}" type="pres">
      <dgm:prSet presAssocID="{6C5D0CF3-6C64-4A87-BF3A-4EF1D3B1BE36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911D3526-57B7-4990-8A56-0818A1020B1F}" type="pres">
      <dgm:prSet presAssocID="{6C5D0CF3-6C64-4A87-BF3A-4EF1D3B1BE36}" presName="dummy" presStyleCnt="0"/>
      <dgm:spPr/>
      <dgm:t>
        <a:bodyPr/>
        <a:lstStyle/>
        <a:p>
          <a:endParaRPr lang="en-IE"/>
        </a:p>
      </dgm:t>
    </dgm:pt>
    <dgm:pt modelId="{D976BA69-FD5F-4059-8A87-520CA8B4530D}" type="pres">
      <dgm:prSet presAssocID="{35542472-E31E-4DC1-8CF6-781201DD237F}" presName="sibTrans" presStyleLbl="sibTrans2D1" presStyleIdx="2" presStyleCnt="4"/>
      <dgm:spPr/>
      <dgm:t>
        <a:bodyPr/>
        <a:lstStyle/>
        <a:p>
          <a:endParaRPr lang="en-IE"/>
        </a:p>
      </dgm:t>
    </dgm:pt>
    <dgm:pt modelId="{5CC53EFF-BF12-4E14-BE2D-3099E52B7A1D}" type="pres">
      <dgm:prSet presAssocID="{2225AA66-AFC8-4402-B370-227D12520965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0A57B798-12C9-45D5-98D2-6FBEAC75B67B}" type="pres">
      <dgm:prSet presAssocID="{2225AA66-AFC8-4402-B370-227D12520965}" presName="dummy" presStyleCnt="0"/>
      <dgm:spPr/>
      <dgm:t>
        <a:bodyPr/>
        <a:lstStyle/>
        <a:p>
          <a:endParaRPr lang="en-IE"/>
        </a:p>
      </dgm:t>
    </dgm:pt>
    <dgm:pt modelId="{4218F9A9-7020-4D65-B7C4-5E8F52DD509E}" type="pres">
      <dgm:prSet presAssocID="{30D768AB-905D-42E2-B65F-8A44EBBB29F4}" presName="sibTrans" presStyleLbl="sibTrans2D1" presStyleIdx="3" presStyleCnt="4"/>
      <dgm:spPr/>
      <dgm:t>
        <a:bodyPr/>
        <a:lstStyle/>
        <a:p>
          <a:endParaRPr lang="en-IE"/>
        </a:p>
      </dgm:t>
    </dgm:pt>
  </dgm:ptLst>
  <dgm:cxnLst>
    <dgm:cxn modelId="{D126AD39-470A-44C8-A6BB-8E6CA86F4DAF}" srcId="{E63F4FE2-38D4-4F8D-BB31-90B83AC157FE}" destId="{05B22728-C74D-4760-B742-0FE15A84AFC8}" srcOrd="0" destOrd="0" parTransId="{3A928CEE-4E65-4FC4-B6D6-1041153BFF90}" sibTransId="{CB259285-B151-403F-AB96-09CCDCA65FCC}"/>
    <dgm:cxn modelId="{2829F930-3404-4545-8D6D-D71BE0E3AB49}" type="presOf" srcId="{E63F4FE2-38D4-4F8D-BB31-90B83AC157FE}" destId="{D33649F8-1746-45AD-865A-C85B8CE045ED}" srcOrd="0" destOrd="0" presId="urn:microsoft.com/office/officeart/2005/8/layout/radial6"/>
    <dgm:cxn modelId="{C0FBC6A8-124D-4FC8-8FDC-A0EE7B7EBA4C}" type="presOf" srcId="{6C5D0CF3-6C64-4A87-BF3A-4EF1D3B1BE36}" destId="{23CD1B26-2D18-44DA-981A-A58DE89726FA}" srcOrd="0" destOrd="0" presId="urn:microsoft.com/office/officeart/2005/8/layout/radial6"/>
    <dgm:cxn modelId="{F7E1F1C7-8398-458F-87C6-7122FC211E00}" type="presOf" srcId="{32DEA169-27C8-4769-9659-C9CF1E302446}" destId="{295953C6-04C2-4939-AA8E-85CAEC564C50}" srcOrd="0" destOrd="0" presId="urn:microsoft.com/office/officeart/2005/8/layout/radial6"/>
    <dgm:cxn modelId="{537D4BC3-4B4B-491F-8FA0-B58844EE3222}" type="presOf" srcId="{2225AA66-AFC8-4402-B370-227D12520965}" destId="{5CC53EFF-BF12-4E14-BE2D-3099E52B7A1D}" srcOrd="0" destOrd="0" presId="urn:microsoft.com/office/officeart/2005/8/layout/radial6"/>
    <dgm:cxn modelId="{256F2920-3706-4F58-91FF-BF4733A12B51}" srcId="{05B22728-C74D-4760-B742-0FE15A84AFC8}" destId="{32DEA169-27C8-4769-9659-C9CF1E302446}" srcOrd="0" destOrd="0" parTransId="{B7897E84-323B-43FF-B82D-0006BF4C8991}" sibTransId="{4C5A7763-C446-40A9-9645-698DEAA947F0}"/>
    <dgm:cxn modelId="{B64233F0-90E0-4502-8161-95DD613B197A}" type="presOf" srcId="{35542472-E31E-4DC1-8CF6-781201DD237F}" destId="{D976BA69-FD5F-4059-8A87-520CA8B4530D}" srcOrd="0" destOrd="0" presId="urn:microsoft.com/office/officeart/2005/8/layout/radial6"/>
    <dgm:cxn modelId="{DF5A1529-D3E7-4FAD-9A59-A14CFB1F3AF2}" srcId="{05B22728-C74D-4760-B742-0FE15A84AFC8}" destId="{2225AA66-AFC8-4402-B370-227D12520965}" srcOrd="3" destOrd="0" parTransId="{4ED0C373-3602-4C14-B978-0391BBA68781}" sibTransId="{30D768AB-905D-42E2-B65F-8A44EBBB29F4}"/>
    <dgm:cxn modelId="{EB93B10D-5BA1-49E8-9BBF-537EF59C5264}" type="presOf" srcId="{4C5A7763-C446-40A9-9645-698DEAA947F0}" destId="{90DF979A-B186-48D1-B80C-0D1E439BB413}" srcOrd="0" destOrd="0" presId="urn:microsoft.com/office/officeart/2005/8/layout/radial6"/>
    <dgm:cxn modelId="{6F831528-1B4E-4D95-9103-2FF4CC0F4DA0}" type="presOf" srcId="{30D768AB-905D-42E2-B65F-8A44EBBB29F4}" destId="{4218F9A9-7020-4D65-B7C4-5E8F52DD509E}" srcOrd="0" destOrd="0" presId="urn:microsoft.com/office/officeart/2005/8/layout/radial6"/>
    <dgm:cxn modelId="{4D0D5157-947A-41D1-BF02-834BFDC03764}" type="presOf" srcId="{5A69BBB0-7C49-46BE-BE32-EB71843BCD49}" destId="{1C043B34-B2A3-4415-BD26-4CD7FDEDF9C9}" srcOrd="0" destOrd="0" presId="urn:microsoft.com/office/officeart/2005/8/layout/radial6"/>
    <dgm:cxn modelId="{570C5F70-7A22-4132-9893-EEBD3EF3D871}" type="presOf" srcId="{174F02A8-82BD-490F-A7BE-B852ACCE5830}" destId="{D5025B3F-2AAE-4EB3-961F-1A85FC54D1C2}" srcOrd="0" destOrd="0" presId="urn:microsoft.com/office/officeart/2005/8/layout/radial6"/>
    <dgm:cxn modelId="{7029DF58-3A32-499D-B3E6-C25639EA9AD6}" srcId="{05B22728-C74D-4760-B742-0FE15A84AFC8}" destId="{6C5D0CF3-6C64-4A87-BF3A-4EF1D3B1BE36}" srcOrd="2" destOrd="0" parTransId="{06EA40B5-6BF0-4E78-9B4D-14BCF8413D18}" sibTransId="{35542472-E31E-4DC1-8CF6-781201DD237F}"/>
    <dgm:cxn modelId="{D8765BD8-089E-4EB3-B83B-B2C24C4C5AFA}" srcId="{05B22728-C74D-4760-B742-0FE15A84AFC8}" destId="{5A69BBB0-7C49-46BE-BE32-EB71843BCD49}" srcOrd="1" destOrd="0" parTransId="{15FCFD07-D729-4CCB-B561-3358F5616402}" sibTransId="{174F02A8-82BD-490F-A7BE-B852ACCE5830}"/>
    <dgm:cxn modelId="{23F03554-EC87-4498-B885-D536ACBBA6DA}" type="presOf" srcId="{05B22728-C74D-4760-B742-0FE15A84AFC8}" destId="{6F0B0962-969C-4716-BF80-B57B945E3D21}" srcOrd="0" destOrd="0" presId="urn:microsoft.com/office/officeart/2005/8/layout/radial6"/>
    <dgm:cxn modelId="{C5843D7A-E1E3-4848-A464-F36483B9870D}" type="presParOf" srcId="{D33649F8-1746-45AD-865A-C85B8CE045ED}" destId="{6F0B0962-969C-4716-BF80-B57B945E3D21}" srcOrd="0" destOrd="0" presId="urn:microsoft.com/office/officeart/2005/8/layout/radial6"/>
    <dgm:cxn modelId="{A6D878C1-A9F3-4AF4-9619-9878440D1F68}" type="presParOf" srcId="{D33649F8-1746-45AD-865A-C85B8CE045ED}" destId="{295953C6-04C2-4939-AA8E-85CAEC564C50}" srcOrd="1" destOrd="0" presId="urn:microsoft.com/office/officeart/2005/8/layout/radial6"/>
    <dgm:cxn modelId="{9F2B7F1D-7F03-46FF-BF04-8ECF0657B293}" type="presParOf" srcId="{D33649F8-1746-45AD-865A-C85B8CE045ED}" destId="{8BB71D4B-88F0-452F-86AE-E6EF521A919A}" srcOrd="2" destOrd="0" presId="urn:microsoft.com/office/officeart/2005/8/layout/radial6"/>
    <dgm:cxn modelId="{506ABFF1-A42D-4FEB-9D18-80A1D1F8F903}" type="presParOf" srcId="{D33649F8-1746-45AD-865A-C85B8CE045ED}" destId="{90DF979A-B186-48D1-B80C-0D1E439BB413}" srcOrd="3" destOrd="0" presId="urn:microsoft.com/office/officeart/2005/8/layout/radial6"/>
    <dgm:cxn modelId="{4C0D0973-D5AC-44E7-912D-0EC6F10EC201}" type="presParOf" srcId="{D33649F8-1746-45AD-865A-C85B8CE045ED}" destId="{1C043B34-B2A3-4415-BD26-4CD7FDEDF9C9}" srcOrd="4" destOrd="0" presId="urn:microsoft.com/office/officeart/2005/8/layout/radial6"/>
    <dgm:cxn modelId="{49E42903-84B6-4E74-BE58-EBD8FA678FA1}" type="presParOf" srcId="{D33649F8-1746-45AD-865A-C85B8CE045ED}" destId="{EF4F3584-C36B-4137-AD00-7AA172A019B2}" srcOrd="5" destOrd="0" presId="urn:microsoft.com/office/officeart/2005/8/layout/radial6"/>
    <dgm:cxn modelId="{B62F6915-0149-4CB4-AA0A-6A7CD310F128}" type="presParOf" srcId="{D33649F8-1746-45AD-865A-C85B8CE045ED}" destId="{D5025B3F-2AAE-4EB3-961F-1A85FC54D1C2}" srcOrd="6" destOrd="0" presId="urn:microsoft.com/office/officeart/2005/8/layout/radial6"/>
    <dgm:cxn modelId="{BBA22128-E6B3-4103-88F5-5F65D4570804}" type="presParOf" srcId="{D33649F8-1746-45AD-865A-C85B8CE045ED}" destId="{23CD1B26-2D18-44DA-981A-A58DE89726FA}" srcOrd="7" destOrd="0" presId="urn:microsoft.com/office/officeart/2005/8/layout/radial6"/>
    <dgm:cxn modelId="{F9383F68-52E8-4088-A6CA-A69AA5E3DDEE}" type="presParOf" srcId="{D33649F8-1746-45AD-865A-C85B8CE045ED}" destId="{911D3526-57B7-4990-8A56-0818A1020B1F}" srcOrd="8" destOrd="0" presId="urn:microsoft.com/office/officeart/2005/8/layout/radial6"/>
    <dgm:cxn modelId="{B33FE9D9-0A85-47BC-9894-3B9A1026CAEC}" type="presParOf" srcId="{D33649F8-1746-45AD-865A-C85B8CE045ED}" destId="{D976BA69-FD5F-4059-8A87-520CA8B4530D}" srcOrd="9" destOrd="0" presId="urn:microsoft.com/office/officeart/2005/8/layout/radial6"/>
    <dgm:cxn modelId="{6FC2895E-3C9C-4F7B-94C2-A04718C738CD}" type="presParOf" srcId="{D33649F8-1746-45AD-865A-C85B8CE045ED}" destId="{5CC53EFF-BF12-4E14-BE2D-3099E52B7A1D}" srcOrd="10" destOrd="0" presId="urn:microsoft.com/office/officeart/2005/8/layout/radial6"/>
    <dgm:cxn modelId="{FCB5B1BA-2302-48E8-A22B-0D37D3A53C7C}" type="presParOf" srcId="{D33649F8-1746-45AD-865A-C85B8CE045ED}" destId="{0A57B798-12C9-45D5-98D2-6FBEAC75B67B}" srcOrd="11" destOrd="0" presId="urn:microsoft.com/office/officeart/2005/8/layout/radial6"/>
    <dgm:cxn modelId="{86886FF8-EB00-4AF4-8FCC-521B54BA973E}" type="presParOf" srcId="{D33649F8-1746-45AD-865A-C85B8CE045ED}" destId="{4218F9A9-7020-4D65-B7C4-5E8F52DD509E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E022840-14D9-4155-8E66-72D7872887C9}" type="doc">
      <dgm:prSet loTypeId="urn:microsoft.com/office/officeart/2005/8/layout/hierarchy6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IE"/>
        </a:p>
      </dgm:t>
    </dgm:pt>
    <dgm:pt modelId="{97058D17-D692-42A4-A211-804ACE159D4C}">
      <dgm:prSet phldrT="[Text]"/>
      <dgm:spPr/>
      <dgm:t>
        <a:bodyPr/>
        <a:lstStyle/>
        <a:p>
          <a:r>
            <a:rPr lang="en-IE" dirty="0" smtClean="0"/>
            <a:t>Pipeline Opportunities</a:t>
          </a:r>
          <a:endParaRPr lang="en-IE" dirty="0"/>
        </a:p>
      </dgm:t>
    </dgm:pt>
    <dgm:pt modelId="{466427C9-847B-4528-BC19-96AB8BE7FE89}" type="parTrans" cxnId="{5FD02476-7EA8-46DA-B65B-4AC78775975B}">
      <dgm:prSet/>
      <dgm:spPr/>
      <dgm:t>
        <a:bodyPr/>
        <a:lstStyle/>
        <a:p>
          <a:endParaRPr lang="en-IE"/>
        </a:p>
      </dgm:t>
    </dgm:pt>
    <dgm:pt modelId="{F87AF966-3346-4900-AA27-BDB04F7884DF}" type="sibTrans" cxnId="{5FD02476-7EA8-46DA-B65B-4AC78775975B}">
      <dgm:prSet/>
      <dgm:spPr/>
      <dgm:t>
        <a:bodyPr/>
        <a:lstStyle/>
        <a:p>
          <a:endParaRPr lang="en-IE"/>
        </a:p>
      </dgm:t>
    </dgm:pt>
    <dgm:pt modelId="{8F1A68F6-D96E-4E58-A092-783B45364EC7}">
      <dgm:prSet phldrT="[Text]"/>
      <dgm:spPr/>
      <dgm:t>
        <a:bodyPr/>
        <a:lstStyle/>
        <a:p>
          <a:r>
            <a:rPr lang="en-IE" dirty="0" smtClean="0"/>
            <a:t>Appetite In/Out</a:t>
          </a:r>
          <a:endParaRPr lang="en-IE" dirty="0"/>
        </a:p>
      </dgm:t>
    </dgm:pt>
    <dgm:pt modelId="{8B3EC3DF-159B-4C0C-9C2C-4A89869BEA84}" type="parTrans" cxnId="{DD3C6CC3-4153-43BA-BF0C-1B969C2C7F22}">
      <dgm:prSet/>
      <dgm:spPr/>
      <dgm:t>
        <a:bodyPr/>
        <a:lstStyle/>
        <a:p>
          <a:endParaRPr lang="en-IE"/>
        </a:p>
      </dgm:t>
    </dgm:pt>
    <dgm:pt modelId="{615A3E78-6AEF-463B-BF7A-C301053DC90C}" type="sibTrans" cxnId="{DD3C6CC3-4153-43BA-BF0C-1B969C2C7F22}">
      <dgm:prSet/>
      <dgm:spPr/>
      <dgm:t>
        <a:bodyPr/>
        <a:lstStyle/>
        <a:p>
          <a:endParaRPr lang="en-IE"/>
        </a:p>
      </dgm:t>
    </dgm:pt>
    <dgm:pt modelId="{AEDDF992-3D6B-4C14-B45B-B8104CBC191F}">
      <dgm:prSet phldrT="[Text]"/>
      <dgm:spPr/>
      <dgm:t>
        <a:bodyPr/>
        <a:lstStyle/>
        <a:p>
          <a:r>
            <a:rPr lang="en-IE" dirty="0" smtClean="0"/>
            <a:t>Notes</a:t>
          </a:r>
          <a:endParaRPr lang="en-IE" dirty="0"/>
        </a:p>
      </dgm:t>
    </dgm:pt>
    <dgm:pt modelId="{8B36C270-487A-478B-A575-96A516DDE9BC}" type="parTrans" cxnId="{679AC4D9-A0AA-4D19-A0C6-01F39624A636}">
      <dgm:prSet/>
      <dgm:spPr/>
      <dgm:t>
        <a:bodyPr/>
        <a:lstStyle/>
        <a:p>
          <a:endParaRPr lang="en-IE"/>
        </a:p>
      </dgm:t>
    </dgm:pt>
    <dgm:pt modelId="{24C870D6-1417-4025-87B9-511EF67A75D0}" type="sibTrans" cxnId="{679AC4D9-A0AA-4D19-A0C6-01F39624A636}">
      <dgm:prSet/>
      <dgm:spPr/>
      <dgm:t>
        <a:bodyPr/>
        <a:lstStyle/>
        <a:p>
          <a:endParaRPr lang="en-IE"/>
        </a:p>
      </dgm:t>
    </dgm:pt>
    <dgm:pt modelId="{03B18721-B2C3-4835-B099-B282850DBF55}">
      <dgm:prSet phldrT="[Text]"/>
      <dgm:spPr/>
      <dgm:t>
        <a:bodyPr/>
        <a:lstStyle/>
        <a:p>
          <a:r>
            <a:rPr lang="en-IE" dirty="0" smtClean="0"/>
            <a:t>Tags</a:t>
          </a:r>
          <a:endParaRPr lang="en-IE" dirty="0"/>
        </a:p>
      </dgm:t>
    </dgm:pt>
    <dgm:pt modelId="{87879DBF-A174-45B8-ABC0-186A3352C11F}" type="parTrans" cxnId="{73097A61-BA31-451B-A6BB-6B63EB13CA78}">
      <dgm:prSet/>
      <dgm:spPr/>
      <dgm:t>
        <a:bodyPr/>
        <a:lstStyle/>
        <a:p>
          <a:endParaRPr lang="en-IE"/>
        </a:p>
      </dgm:t>
    </dgm:pt>
    <dgm:pt modelId="{AD2B4F39-5427-4F94-B64A-1181A9A931D7}" type="sibTrans" cxnId="{73097A61-BA31-451B-A6BB-6B63EB13CA78}">
      <dgm:prSet/>
      <dgm:spPr/>
      <dgm:t>
        <a:bodyPr/>
        <a:lstStyle/>
        <a:p>
          <a:endParaRPr lang="en-IE"/>
        </a:p>
      </dgm:t>
    </dgm:pt>
    <dgm:pt modelId="{C27AE71A-8A2A-487C-BCF4-8F066CE549CF}" type="pres">
      <dgm:prSet presAssocID="{CE022840-14D9-4155-8E66-72D7872887C9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IE"/>
        </a:p>
      </dgm:t>
    </dgm:pt>
    <dgm:pt modelId="{1331A063-B53F-4A41-8333-1C7D4E33C9B9}" type="pres">
      <dgm:prSet presAssocID="{CE022840-14D9-4155-8E66-72D7872887C9}" presName="hierFlow" presStyleCnt="0"/>
      <dgm:spPr/>
      <dgm:t>
        <a:bodyPr/>
        <a:lstStyle/>
        <a:p>
          <a:endParaRPr lang="en-IE"/>
        </a:p>
      </dgm:t>
    </dgm:pt>
    <dgm:pt modelId="{A04F6AE3-EA19-41C9-B51A-8BA7E48BE584}" type="pres">
      <dgm:prSet presAssocID="{CE022840-14D9-4155-8E66-72D7872887C9}" presName="hierChild1" presStyleCnt="0">
        <dgm:presLayoutVars>
          <dgm:chPref val="1"/>
          <dgm:animOne val="branch"/>
          <dgm:animLvl val="lvl"/>
        </dgm:presLayoutVars>
      </dgm:prSet>
      <dgm:spPr/>
      <dgm:t>
        <a:bodyPr/>
        <a:lstStyle/>
        <a:p>
          <a:endParaRPr lang="en-IE"/>
        </a:p>
      </dgm:t>
    </dgm:pt>
    <dgm:pt modelId="{F59550BA-D5DC-40DE-A4DD-1BDC1BC97654}" type="pres">
      <dgm:prSet presAssocID="{97058D17-D692-42A4-A211-804ACE159D4C}" presName="Name14" presStyleCnt="0"/>
      <dgm:spPr/>
      <dgm:t>
        <a:bodyPr/>
        <a:lstStyle/>
        <a:p>
          <a:endParaRPr lang="en-IE"/>
        </a:p>
      </dgm:t>
    </dgm:pt>
    <dgm:pt modelId="{3FB49B7E-E657-4CFF-84B0-3CD98A5EB9A2}" type="pres">
      <dgm:prSet presAssocID="{97058D17-D692-42A4-A211-804ACE159D4C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IE"/>
        </a:p>
      </dgm:t>
    </dgm:pt>
    <dgm:pt modelId="{53EA938E-8712-4192-94B9-8324A69505C5}" type="pres">
      <dgm:prSet presAssocID="{97058D17-D692-42A4-A211-804ACE159D4C}" presName="hierChild2" presStyleCnt="0"/>
      <dgm:spPr/>
      <dgm:t>
        <a:bodyPr/>
        <a:lstStyle/>
        <a:p>
          <a:endParaRPr lang="en-IE"/>
        </a:p>
      </dgm:t>
    </dgm:pt>
    <dgm:pt modelId="{EDE21645-A93A-477B-8B57-C2E756DE749C}" type="pres">
      <dgm:prSet presAssocID="{8B3EC3DF-159B-4C0C-9C2C-4A89869BEA84}" presName="Name19" presStyleLbl="parChTrans1D2" presStyleIdx="0" presStyleCnt="3"/>
      <dgm:spPr/>
      <dgm:t>
        <a:bodyPr/>
        <a:lstStyle/>
        <a:p>
          <a:endParaRPr lang="en-IE"/>
        </a:p>
      </dgm:t>
    </dgm:pt>
    <dgm:pt modelId="{E59D60F2-58A6-4B46-8C7D-9437148773E0}" type="pres">
      <dgm:prSet presAssocID="{8F1A68F6-D96E-4E58-A092-783B45364EC7}" presName="Name21" presStyleCnt="0"/>
      <dgm:spPr/>
      <dgm:t>
        <a:bodyPr/>
        <a:lstStyle/>
        <a:p>
          <a:endParaRPr lang="en-IE"/>
        </a:p>
      </dgm:t>
    </dgm:pt>
    <dgm:pt modelId="{99D0E39D-8D54-4E50-B064-CE3CD192CABF}" type="pres">
      <dgm:prSet presAssocID="{8F1A68F6-D96E-4E58-A092-783B45364EC7}" presName="level2Shape" presStyleLbl="node2" presStyleIdx="0" presStyleCnt="3"/>
      <dgm:spPr/>
      <dgm:t>
        <a:bodyPr/>
        <a:lstStyle/>
        <a:p>
          <a:endParaRPr lang="en-IE"/>
        </a:p>
      </dgm:t>
    </dgm:pt>
    <dgm:pt modelId="{EC83B569-7BC1-43AB-B30A-D2171DD9533C}" type="pres">
      <dgm:prSet presAssocID="{8F1A68F6-D96E-4E58-A092-783B45364EC7}" presName="hierChild3" presStyleCnt="0"/>
      <dgm:spPr/>
      <dgm:t>
        <a:bodyPr/>
        <a:lstStyle/>
        <a:p>
          <a:endParaRPr lang="en-IE"/>
        </a:p>
      </dgm:t>
    </dgm:pt>
    <dgm:pt modelId="{55EE91C2-E5E7-45F0-9E47-17831DEF7828}" type="pres">
      <dgm:prSet presAssocID="{8B36C270-487A-478B-A575-96A516DDE9BC}" presName="Name19" presStyleLbl="parChTrans1D2" presStyleIdx="1" presStyleCnt="3"/>
      <dgm:spPr/>
      <dgm:t>
        <a:bodyPr/>
        <a:lstStyle/>
        <a:p>
          <a:endParaRPr lang="en-IE"/>
        </a:p>
      </dgm:t>
    </dgm:pt>
    <dgm:pt modelId="{EDAAB5D6-9F8E-49D8-A4DC-AA6835DBB5C1}" type="pres">
      <dgm:prSet presAssocID="{AEDDF992-3D6B-4C14-B45B-B8104CBC191F}" presName="Name21" presStyleCnt="0"/>
      <dgm:spPr/>
      <dgm:t>
        <a:bodyPr/>
        <a:lstStyle/>
        <a:p>
          <a:endParaRPr lang="en-IE"/>
        </a:p>
      </dgm:t>
    </dgm:pt>
    <dgm:pt modelId="{5DEE95C7-0941-41A3-92AF-3699AD1B4CC1}" type="pres">
      <dgm:prSet presAssocID="{AEDDF992-3D6B-4C14-B45B-B8104CBC191F}" presName="level2Shape" presStyleLbl="node2" presStyleIdx="1" presStyleCnt="3"/>
      <dgm:spPr/>
      <dgm:t>
        <a:bodyPr/>
        <a:lstStyle/>
        <a:p>
          <a:endParaRPr lang="en-IE"/>
        </a:p>
      </dgm:t>
    </dgm:pt>
    <dgm:pt modelId="{1DB9B8B7-B912-41B5-9A22-A1BD3F5F8147}" type="pres">
      <dgm:prSet presAssocID="{AEDDF992-3D6B-4C14-B45B-B8104CBC191F}" presName="hierChild3" presStyleCnt="0"/>
      <dgm:spPr/>
      <dgm:t>
        <a:bodyPr/>
        <a:lstStyle/>
        <a:p>
          <a:endParaRPr lang="en-IE"/>
        </a:p>
      </dgm:t>
    </dgm:pt>
    <dgm:pt modelId="{0F2A3385-8420-4278-B207-3FC859A37F94}" type="pres">
      <dgm:prSet presAssocID="{87879DBF-A174-45B8-ABC0-186A3352C11F}" presName="Name19" presStyleLbl="parChTrans1D2" presStyleIdx="2" presStyleCnt="3"/>
      <dgm:spPr/>
      <dgm:t>
        <a:bodyPr/>
        <a:lstStyle/>
        <a:p>
          <a:endParaRPr lang="en-IE"/>
        </a:p>
      </dgm:t>
    </dgm:pt>
    <dgm:pt modelId="{C1D6CF2B-97F2-446B-974B-ABACCD184000}" type="pres">
      <dgm:prSet presAssocID="{03B18721-B2C3-4835-B099-B282850DBF55}" presName="Name21" presStyleCnt="0"/>
      <dgm:spPr/>
      <dgm:t>
        <a:bodyPr/>
        <a:lstStyle/>
        <a:p>
          <a:endParaRPr lang="en-IE"/>
        </a:p>
      </dgm:t>
    </dgm:pt>
    <dgm:pt modelId="{8DA725C6-06AE-4354-83D8-91886AEC98C4}" type="pres">
      <dgm:prSet presAssocID="{03B18721-B2C3-4835-B099-B282850DBF55}" presName="level2Shape" presStyleLbl="node2" presStyleIdx="2" presStyleCnt="3"/>
      <dgm:spPr/>
      <dgm:t>
        <a:bodyPr/>
        <a:lstStyle/>
        <a:p>
          <a:endParaRPr lang="en-IE"/>
        </a:p>
      </dgm:t>
    </dgm:pt>
    <dgm:pt modelId="{E4B7F855-742F-4011-826B-19EA8F54B8E3}" type="pres">
      <dgm:prSet presAssocID="{03B18721-B2C3-4835-B099-B282850DBF55}" presName="hierChild3" presStyleCnt="0"/>
      <dgm:spPr/>
      <dgm:t>
        <a:bodyPr/>
        <a:lstStyle/>
        <a:p>
          <a:endParaRPr lang="en-IE"/>
        </a:p>
      </dgm:t>
    </dgm:pt>
    <dgm:pt modelId="{17D8F648-82EA-4129-8F86-C8684BDE8A44}" type="pres">
      <dgm:prSet presAssocID="{CE022840-14D9-4155-8E66-72D7872887C9}" presName="bgShapesFlow" presStyleCnt="0"/>
      <dgm:spPr/>
      <dgm:t>
        <a:bodyPr/>
        <a:lstStyle/>
        <a:p>
          <a:endParaRPr lang="en-IE"/>
        </a:p>
      </dgm:t>
    </dgm:pt>
  </dgm:ptLst>
  <dgm:cxnLst>
    <dgm:cxn modelId="{73097A61-BA31-451B-A6BB-6B63EB13CA78}" srcId="{97058D17-D692-42A4-A211-804ACE159D4C}" destId="{03B18721-B2C3-4835-B099-B282850DBF55}" srcOrd="2" destOrd="0" parTransId="{87879DBF-A174-45B8-ABC0-186A3352C11F}" sibTransId="{AD2B4F39-5427-4F94-B64A-1181A9A931D7}"/>
    <dgm:cxn modelId="{1F0D2DCB-132D-4649-BD21-C50FCBDC32B7}" type="presOf" srcId="{87879DBF-A174-45B8-ABC0-186A3352C11F}" destId="{0F2A3385-8420-4278-B207-3FC859A37F94}" srcOrd="0" destOrd="0" presId="urn:microsoft.com/office/officeart/2005/8/layout/hierarchy6"/>
    <dgm:cxn modelId="{679AC4D9-A0AA-4D19-A0C6-01F39624A636}" srcId="{97058D17-D692-42A4-A211-804ACE159D4C}" destId="{AEDDF992-3D6B-4C14-B45B-B8104CBC191F}" srcOrd="1" destOrd="0" parTransId="{8B36C270-487A-478B-A575-96A516DDE9BC}" sibTransId="{24C870D6-1417-4025-87B9-511EF67A75D0}"/>
    <dgm:cxn modelId="{76C2DDEE-4844-49E1-80D6-761D007A2097}" type="presOf" srcId="{8F1A68F6-D96E-4E58-A092-783B45364EC7}" destId="{99D0E39D-8D54-4E50-B064-CE3CD192CABF}" srcOrd="0" destOrd="0" presId="urn:microsoft.com/office/officeart/2005/8/layout/hierarchy6"/>
    <dgm:cxn modelId="{E6710F10-307C-4B99-A887-C2FCD9AFD176}" type="presOf" srcId="{CE022840-14D9-4155-8E66-72D7872887C9}" destId="{C27AE71A-8A2A-487C-BCF4-8F066CE549CF}" srcOrd="0" destOrd="0" presId="urn:microsoft.com/office/officeart/2005/8/layout/hierarchy6"/>
    <dgm:cxn modelId="{C40E43FA-4BE9-4773-B5A5-FCC2D1E86645}" type="presOf" srcId="{8B3EC3DF-159B-4C0C-9C2C-4A89869BEA84}" destId="{EDE21645-A93A-477B-8B57-C2E756DE749C}" srcOrd="0" destOrd="0" presId="urn:microsoft.com/office/officeart/2005/8/layout/hierarchy6"/>
    <dgm:cxn modelId="{B694011D-4442-47EB-8AE6-25DEB2D90079}" type="presOf" srcId="{03B18721-B2C3-4835-B099-B282850DBF55}" destId="{8DA725C6-06AE-4354-83D8-91886AEC98C4}" srcOrd="0" destOrd="0" presId="urn:microsoft.com/office/officeart/2005/8/layout/hierarchy6"/>
    <dgm:cxn modelId="{3A193F58-E27D-4863-9F8F-7434E4A0FF3E}" type="presOf" srcId="{8B36C270-487A-478B-A575-96A516DDE9BC}" destId="{55EE91C2-E5E7-45F0-9E47-17831DEF7828}" srcOrd="0" destOrd="0" presId="urn:microsoft.com/office/officeart/2005/8/layout/hierarchy6"/>
    <dgm:cxn modelId="{9781D77A-3EEF-454A-9871-3B78D1B24EA0}" type="presOf" srcId="{97058D17-D692-42A4-A211-804ACE159D4C}" destId="{3FB49B7E-E657-4CFF-84B0-3CD98A5EB9A2}" srcOrd="0" destOrd="0" presId="urn:microsoft.com/office/officeart/2005/8/layout/hierarchy6"/>
    <dgm:cxn modelId="{5FD02476-7EA8-46DA-B65B-4AC78775975B}" srcId="{CE022840-14D9-4155-8E66-72D7872887C9}" destId="{97058D17-D692-42A4-A211-804ACE159D4C}" srcOrd="0" destOrd="0" parTransId="{466427C9-847B-4528-BC19-96AB8BE7FE89}" sibTransId="{F87AF966-3346-4900-AA27-BDB04F7884DF}"/>
    <dgm:cxn modelId="{32B76B33-9A26-478F-A3E7-98F1FA8E14FF}" type="presOf" srcId="{AEDDF992-3D6B-4C14-B45B-B8104CBC191F}" destId="{5DEE95C7-0941-41A3-92AF-3699AD1B4CC1}" srcOrd="0" destOrd="0" presId="urn:microsoft.com/office/officeart/2005/8/layout/hierarchy6"/>
    <dgm:cxn modelId="{DD3C6CC3-4153-43BA-BF0C-1B969C2C7F22}" srcId="{97058D17-D692-42A4-A211-804ACE159D4C}" destId="{8F1A68F6-D96E-4E58-A092-783B45364EC7}" srcOrd="0" destOrd="0" parTransId="{8B3EC3DF-159B-4C0C-9C2C-4A89869BEA84}" sibTransId="{615A3E78-6AEF-463B-BF7A-C301053DC90C}"/>
    <dgm:cxn modelId="{20F72525-EEEC-4F3A-BF38-995C95B17032}" type="presParOf" srcId="{C27AE71A-8A2A-487C-BCF4-8F066CE549CF}" destId="{1331A063-B53F-4A41-8333-1C7D4E33C9B9}" srcOrd="0" destOrd="0" presId="urn:microsoft.com/office/officeart/2005/8/layout/hierarchy6"/>
    <dgm:cxn modelId="{7B882C8F-9098-4F79-8D1C-77FFB9307B46}" type="presParOf" srcId="{1331A063-B53F-4A41-8333-1C7D4E33C9B9}" destId="{A04F6AE3-EA19-41C9-B51A-8BA7E48BE584}" srcOrd="0" destOrd="0" presId="urn:microsoft.com/office/officeart/2005/8/layout/hierarchy6"/>
    <dgm:cxn modelId="{04578FCC-3111-43EA-9331-7C82E245FC85}" type="presParOf" srcId="{A04F6AE3-EA19-41C9-B51A-8BA7E48BE584}" destId="{F59550BA-D5DC-40DE-A4DD-1BDC1BC97654}" srcOrd="0" destOrd="0" presId="urn:microsoft.com/office/officeart/2005/8/layout/hierarchy6"/>
    <dgm:cxn modelId="{D02E0624-919B-4177-8C3A-CE36EE00314B}" type="presParOf" srcId="{F59550BA-D5DC-40DE-A4DD-1BDC1BC97654}" destId="{3FB49B7E-E657-4CFF-84B0-3CD98A5EB9A2}" srcOrd="0" destOrd="0" presId="urn:microsoft.com/office/officeart/2005/8/layout/hierarchy6"/>
    <dgm:cxn modelId="{BB0C8F73-7265-4F1A-B074-6DFB2271AF42}" type="presParOf" srcId="{F59550BA-D5DC-40DE-A4DD-1BDC1BC97654}" destId="{53EA938E-8712-4192-94B9-8324A69505C5}" srcOrd="1" destOrd="0" presId="urn:microsoft.com/office/officeart/2005/8/layout/hierarchy6"/>
    <dgm:cxn modelId="{69657B26-6CC2-4849-A9BF-AF57F9BAF6B1}" type="presParOf" srcId="{53EA938E-8712-4192-94B9-8324A69505C5}" destId="{EDE21645-A93A-477B-8B57-C2E756DE749C}" srcOrd="0" destOrd="0" presId="urn:microsoft.com/office/officeart/2005/8/layout/hierarchy6"/>
    <dgm:cxn modelId="{EAAF9888-5094-4D8E-AE4C-6ADC71F447FC}" type="presParOf" srcId="{53EA938E-8712-4192-94B9-8324A69505C5}" destId="{E59D60F2-58A6-4B46-8C7D-9437148773E0}" srcOrd="1" destOrd="0" presId="urn:microsoft.com/office/officeart/2005/8/layout/hierarchy6"/>
    <dgm:cxn modelId="{633E6844-1EC1-4871-9D5D-23CBA1E5225B}" type="presParOf" srcId="{E59D60F2-58A6-4B46-8C7D-9437148773E0}" destId="{99D0E39D-8D54-4E50-B064-CE3CD192CABF}" srcOrd="0" destOrd="0" presId="urn:microsoft.com/office/officeart/2005/8/layout/hierarchy6"/>
    <dgm:cxn modelId="{6E864F56-D9B1-4ADB-973B-B02C388B1A40}" type="presParOf" srcId="{E59D60F2-58A6-4B46-8C7D-9437148773E0}" destId="{EC83B569-7BC1-43AB-B30A-D2171DD9533C}" srcOrd="1" destOrd="0" presId="urn:microsoft.com/office/officeart/2005/8/layout/hierarchy6"/>
    <dgm:cxn modelId="{440707F0-9B14-4810-9C96-CB645EF4718C}" type="presParOf" srcId="{53EA938E-8712-4192-94B9-8324A69505C5}" destId="{55EE91C2-E5E7-45F0-9E47-17831DEF7828}" srcOrd="2" destOrd="0" presId="urn:microsoft.com/office/officeart/2005/8/layout/hierarchy6"/>
    <dgm:cxn modelId="{4BFC533D-8E98-46A1-9950-7CE9F36B8238}" type="presParOf" srcId="{53EA938E-8712-4192-94B9-8324A69505C5}" destId="{EDAAB5D6-9F8E-49D8-A4DC-AA6835DBB5C1}" srcOrd="3" destOrd="0" presId="urn:microsoft.com/office/officeart/2005/8/layout/hierarchy6"/>
    <dgm:cxn modelId="{EC0DFE02-21CE-40A2-9013-FCBEFB42CD3F}" type="presParOf" srcId="{EDAAB5D6-9F8E-49D8-A4DC-AA6835DBB5C1}" destId="{5DEE95C7-0941-41A3-92AF-3699AD1B4CC1}" srcOrd="0" destOrd="0" presId="urn:microsoft.com/office/officeart/2005/8/layout/hierarchy6"/>
    <dgm:cxn modelId="{68E96506-6BA6-46ED-AF0C-E986685638CE}" type="presParOf" srcId="{EDAAB5D6-9F8E-49D8-A4DC-AA6835DBB5C1}" destId="{1DB9B8B7-B912-41B5-9A22-A1BD3F5F8147}" srcOrd="1" destOrd="0" presId="urn:microsoft.com/office/officeart/2005/8/layout/hierarchy6"/>
    <dgm:cxn modelId="{9FF4351E-A7CA-48B3-9B9F-77E2CBBEBC4D}" type="presParOf" srcId="{53EA938E-8712-4192-94B9-8324A69505C5}" destId="{0F2A3385-8420-4278-B207-3FC859A37F94}" srcOrd="4" destOrd="0" presId="urn:microsoft.com/office/officeart/2005/8/layout/hierarchy6"/>
    <dgm:cxn modelId="{242D370C-406C-49CD-B45E-D08B760B80EE}" type="presParOf" srcId="{53EA938E-8712-4192-94B9-8324A69505C5}" destId="{C1D6CF2B-97F2-446B-974B-ABACCD184000}" srcOrd="5" destOrd="0" presId="urn:microsoft.com/office/officeart/2005/8/layout/hierarchy6"/>
    <dgm:cxn modelId="{9292C346-E406-4361-9615-D3786D30329B}" type="presParOf" srcId="{C1D6CF2B-97F2-446B-974B-ABACCD184000}" destId="{8DA725C6-06AE-4354-83D8-91886AEC98C4}" srcOrd="0" destOrd="0" presId="urn:microsoft.com/office/officeart/2005/8/layout/hierarchy6"/>
    <dgm:cxn modelId="{356CEB7C-AEC2-481B-BCF2-56616061A9F1}" type="presParOf" srcId="{C1D6CF2B-97F2-446B-974B-ABACCD184000}" destId="{E4B7F855-742F-4011-826B-19EA8F54B8E3}" srcOrd="1" destOrd="0" presId="urn:microsoft.com/office/officeart/2005/8/layout/hierarchy6"/>
    <dgm:cxn modelId="{23EC38E6-AAB9-4BE9-A736-6D7CC1A3EE2D}" type="presParOf" srcId="{C27AE71A-8A2A-487C-BCF4-8F066CE549CF}" destId="{17D8F648-82EA-4129-8F86-C8684BDE8A44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18F9A9-7020-4D65-B7C4-5E8F52DD509E}">
      <dsp:nvSpPr>
        <dsp:cNvPr id="0" name=""/>
        <dsp:cNvSpPr/>
      </dsp:nvSpPr>
      <dsp:spPr>
        <a:xfrm>
          <a:off x="1935725" y="547192"/>
          <a:ext cx="3650123" cy="3650123"/>
        </a:xfrm>
        <a:prstGeom prst="blockArc">
          <a:avLst>
            <a:gd name="adj1" fmla="val 10800000"/>
            <a:gd name="adj2" fmla="val 16200000"/>
            <a:gd name="adj3" fmla="val 4635"/>
          </a:avLst>
        </a:prstGeom>
        <a:solidFill>
          <a:schemeClr val="accent3">
            <a:hueOff val="-1554326"/>
            <a:satOff val="0"/>
            <a:lumOff val="588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76BA69-FD5F-4059-8A87-520CA8B4530D}">
      <dsp:nvSpPr>
        <dsp:cNvPr id="0" name=""/>
        <dsp:cNvSpPr/>
      </dsp:nvSpPr>
      <dsp:spPr>
        <a:xfrm>
          <a:off x="1935725" y="547192"/>
          <a:ext cx="3650123" cy="3650123"/>
        </a:xfrm>
        <a:prstGeom prst="blockArc">
          <a:avLst>
            <a:gd name="adj1" fmla="val 5400000"/>
            <a:gd name="adj2" fmla="val 10800000"/>
            <a:gd name="adj3" fmla="val 4635"/>
          </a:avLst>
        </a:prstGeom>
        <a:solidFill>
          <a:schemeClr val="accent3">
            <a:hueOff val="-1036218"/>
            <a:satOff val="0"/>
            <a:lumOff val="392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025B3F-2AAE-4EB3-961F-1A85FC54D1C2}">
      <dsp:nvSpPr>
        <dsp:cNvPr id="0" name=""/>
        <dsp:cNvSpPr/>
      </dsp:nvSpPr>
      <dsp:spPr>
        <a:xfrm>
          <a:off x="1935725" y="547192"/>
          <a:ext cx="3650123" cy="3650123"/>
        </a:xfrm>
        <a:prstGeom prst="blockArc">
          <a:avLst>
            <a:gd name="adj1" fmla="val 0"/>
            <a:gd name="adj2" fmla="val 5400000"/>
            <a:gd name="adj3" fmla="val 4635"/>
          </a:avLst>
        </a:prstGeom>
        <a:solidFill>
          <a:schemeClr val="accent3">
            <a:hueOff val="-518109"/>
            <a:satOff val="0"/>
            <a:lumOff val="196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DF979A-B186-48D1-B80C-0D1E439BB413}">
      <dsp:nvSpPr>
        <dsp:cNvPr id="0" name=""/>
        <dsp:cNvSpPr/>
      </dsp:nvSpPr>
      <dsp:spPr>
        <a:xfrm>
          <a:off x="1935725" y="547192"/>
          <a:ext cx="3650123" cy="3650123"/>
        </a:xfrm>
        <a:prstGeom prst="blockArc">
          <a:avLst>
            <a:gd name="adj1" fmla="val 16200000"/>
            <a:gd name="adj2" fmla="val 0"/>
            <a:gd name="adj3" fmla="val 4635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0B0962-969C-4716-BF80-B57B945E3D21}">
      <dsp:nvSpPr>
        <dsp:cNvPr id="0" name=""/>
        <dsp:cNvSpPr/>
      </dsp:nvSpPr>
      <dsp:spPr>
        <a:xfrm>
          <a:off x="2921588" y="1533055"/>
          <a:ext cx="1678398" cy="1678398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500" kern="1200" dirty="0" err="1" smtClean="0"/>
            <a:t>Elasticsearch</a:t>
          </a:r>
          <a:endParaRPr lang="en-IE" sz="1500" kern="1200" dirty="0"/>
        </a:p>
      </dsp:txBody>
      <dsp:txXfrm>
        <a:off x="3167384" y="1778851"/>
        <a:ext cx="1186806" cy="1186806"/>
      </dsp:txXfrm>
    </dsp:sp>
    <dsp:sp modelId="{295953C6-04C2-4939-AA8E-85CAEC564C50}">
      <dsp:nvSpPr>
        <dsp:cNvPr id="0" name=""/>
        <dsp:cNvSpPr/>
      </dsp:nvSpPr>
      <dsp:spPr>
        <a:xfrm>
          <a:off x="3173348" y="2048"/>
          <a:ext cx="1174878" cy="117487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500" kern="1200" dirty="0" smtClean="0"/>
            <a:t>Inner Object</a:t>
          </a:r>
          <a:endParaRPr lang="en-IE" sz="1500" kern="1200" dirty="0"/>
        </a:p>
      </dsp:txBody>
      <dsp:txXfrm>
        <a:off x="3345405" y="174105"/>
        <a:ext cx="830764" cy="830764"/>
      </dsp:txXfrm>
    </dsp:sp>
    <dsp:sp modelId="{1C043B34-B2A3-4415-BD26-4CD7FDEDF9C9}">
      <dsp:nvSpPr>
        <dsp:cNvPr id="0" name=""/>
        <dsp:cNvSpPr/>
      </dsp:nvSpPr>
      <dsp:spPr>
        <a:xfrm>
          <a:off x="4956114" y="1784815"/>
          <a:ext cx="1174878" cy="1174878"/>
        </a:xfrm>
        <a:prstGeom prst="ellipse">
          <a:avLst/>
        </a:prstGeom>
        <a:solidFill>
          <a:schemeClr val="accent3">
            <a:hueOff val="-518109"/>
            <a:satOff val="0"/>
            <a:lumOff val="196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500" kern="1200" dirty="0" smtClean="0"/>
            <a:t>Nested</a:t>
          </a:r>
          <a:endParaRPr lang="en-IE" sz="1500" kern="1200" dirty="0"/>
        </a:p>
      </dsp:txBody>
      <dsp:txXfrm>
        <a:off x="5128171" y="1956872"/>
        <a:ext cx="830764" cy="830764"/>
      </dsp:txXfrm>
    </dsp:sp>
    <dsp:sp modelId="{23CD1B26-2D18-44DA-981A-A58DE89726FA}">
      <dsp:nvSpPr>
        <dsp:cNvPr id="0" name=""/>
        <dsp:cNvSpPr/>
      </dsp:nvSpPr>
      <dsp:spPr>
        <a:xfrm>
          <a:off x="3173348" y="3567581"/>
          <a:ext cx="1174878" cy="1174878"/>
        </a:xfrm>
        <a:prstGeom prst="ellipse">
          <a:avLst/>
        </a:prstGeom>
        <a:solidFill>
          <a:schemeClr val="accent3">
            <a:hueOff val="-1036218"/>
            <a:satOff val="0"/>
            <a:lumOff val="392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500" kern="1200" dirty="0" smtClean="0"/>
            <a:t>_Parent/ _child</a:t>
          </a:r>
          <a:endParaRPr lang="en-IE" sz="1500" kern="1200" dirty="0"/>
        </a:p>
      </dsp:txBody>
      <dsp:txXfrm>
        <a:off x="3345405" y="3739638"/>
        <a:ext cx="830764" cy="830764"/>
      </dsp:txXfrm>
    </dsp:sp>
    <dsp:sp modelId="{5CC53EFF-BF12-4E14-BE2D-3099E52B7A1D}">
      <dsp:nvSpPr>
        <dsp:cNvPr id="0" name=""/>
        <dsp:cNvSpPr/>
      </dsp:nvSpPr>
      <dsp:spPr>
        <a:xfrm>
          <a:off x="1390581" y="1784815"/>
          <a:ext cx="1174878" cy="1174878"/>
        </a:xfrm>
        <a:prstGeom prst="ellipse">
          <a:avLst/>
        </a:prstGeom>
        <a:solidFill>
          <a:schemeClr val="accent3">
            <a:hueOff val="-1554326"/>
            <a:satOff val="0"/>
            <a:lumOff val="588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500" kern="1200" dirty="0" smtClean="0"/>
            <a:t>Terms Lookup</a:t>
          </a:r>
          <a:endParaRPr lang="en-IE" sz="1500" kern="1200" dirty="0"/>
        </a:p>
      </dsp:txBody>
      <dsp:txXfrm>
        <a:off x="1562638" y="1956872"/>
        <a:ext cx="830764" cy="8307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B49B7E-E657-4CFF-84B0-3CD98A5EB9A2}">
      <dsp:nvSpPr>
        <dsp:cNvPr id="0" name=""/>
        <dsp:cNvSpPr/>
      </dsp:nvSpPr>
      <dsp:spPr>
        <a:xfrm>
          <a:off x="2386210" y="68791"/>
          <a:ext cx="1831578" cy="1221052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2100" kern="1200" dirty="0" smtClean="0"/>
            <a:t>Pipeline Opportunities</a:t>
          </a:r>
          <a:endParaRPr lang="en-IE" sz="2100" kern="1200" dirty="0"/>
        </a:p>
      </dsp:txBody>
      <dsp:txXfrm>
        <a:off x="2421973" y="104554"/>
        <a:ext cx="1760052" cy="1149526"/>
      </dsp:txXfrm>
    </dsp:sp>
    <dsp:sp modelId="{EDE21645-A93A-477B-8B57-C2E756DE749C}">
      <dsp:nvSpPr>
        <dsp:cNvPr id="0" name=""/>
        <dsp:cNvSpPr/>
      </dsp:nvSpPr>
      <dsp:spPr>
        <a:xfrm>
          <a:off x="920948" y="1289844"/>
          <a:ext cx="2381051" cy="488420"/>
        </a:xfrm>
        <a:custGeom>
          <a:avLst/>
          <a:gdLst/>
          <a:ahLst/>
          <a:cxnLst/>
          <a:rect l="0" t="0" r="0" b="0"/>
          <a:pathLst>
            <a:path>
              <a:moveTo>
                <a:pt x="2381051" y="0"/>
              </a:moveTo>
              <a:lnTo>
                <a:pt x="2381051" y="244210"/>
              </a:lnTo>
              <a:lnTo>
                <a:pt x="0" y="244210"/>
              </a:lnTo>
              <a:lnTo>
                <a:pt x="0" y="48842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D0E39D-8D54-4E50-B064-CE3CD192CABF}">
      <dsp:nvSpPr>
        <dsp:cNvPr id="0" name=""/>
        <dsp:cNvSpPr/>
      </dsp:nvSpPr>
      <dsp:spPr>
        <a:xfrm>
          <a:off x="5159" y="1778264"/>
          <a:ext cx="1831578" cy="1221052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2100" kern="1200" dirty="0" smtClean="0"/>
            <a:t>Appetite In/Out</a:t>
          </a:r>
          <a:endParaRPr lang="en-IE" sz="2100" kern="1200" dirty="0"/>
        </a:p>
      </dsp:txBody>
      <dsp:txXfrm>
        <a:off x="40922" y="1814027"/>
        <a:ext cx="1760052" cy="1149526"/>
      </dsp:txXfrm>
    </dsp:sp>
    <dsp:sp modelId="{55EE91C2-E5E7-45F0-9E47-17831DEF7828}">
      <dsp:nvSpPr>
        <dsp:cNvPr id="0" name=""/>
        <dsp:cNvSpPr/>
      </dsp:nvSpPr>
      <dsp:spPr>
        <a:xfrm>
          <a:off x="3256280" y="1289844"/>
          <a:ext cx="91440" cy="48842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8842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EE95C7-0941-41A3-92AF-3699AD1B4CC1}">
      <dsp:nvSpPr>
        <dsp:cNvPr id="0" name=""/>
        <dsp:cNvSpPr/>
      </dsp:nvSpPr>
      <dsp:spPr>
        <a:xfrm>
          <a:off x="2386210" y="1778264"/>
          <a:ext cx="1831578" cy="1221052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2100" kern="1200" dirty="0" smtClean="0"/>
            <a:t>Notes</a:t>
          </a:r>
          <a:endParaRPr lang="en-IE" sz="2100" kern="1200" dirty="0"/>
        </a:p>
      </dsp:txBody>
      <dsp:txXfrm>
        <a:off x="2421973" y="1814027"/>
        <a:ext cx="1760052" cy="1149526"/>
      </dsp:txXfrm>
    </dsp:sp>
    <dsp:sp modelId="{0F2A3385-8420-4278-B207-3FC859A37F94}">
      <dsp:nvSpPr>
        <dsp:cNvPr id="0" name=""/>
        <dsp:cNvSpPr/>
      </dsp:nvSpPr>
      <dsp:spPr>
        <a:xfrm>
          <a:off x="3302000" y="1289844"/>
          <a:ext cx="2381051" cy="48842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4210"/>
              </a:lnTo>
              <a:lnTo>
                <a:pt x="2381051" y="244210"/>
              </a:lnTo>
              <a:lnTo>
                <a:pt x="2381051" y="48842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A725C6-06AE-4354-83D8-91886AEC98C4}">
      <dsp:nvSpPr>
        <dsp:cNvPr id="0" name=""/>
        <dsp:cNvSpPr/>
      </dsp:nvSpPr>
      <dsp:spPr>
        <a:xfrm>
          <a:off x="4767262" y="1778264"/>
          <a:ext cx="1831578" cy="1221052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2100" kern="1200" dirty="0" smtClean="0"/>
            <a:t>Tags</a:t>
          </a:r>
          <a:endParaRPr lang="en-IE" sz="2100" kern="1200" dirty="0"/>
        </a:p>
      </dsp:txBody>
      <dsp:txXfrm>
        <a:off x="4803025" y="1814027"/>
        <a:ext cx="1760052" cy="11495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F83633-19CA-4BF4-B333-61B7DDBA8843}" type="datetimeFigureOut">
              <a:rPr lang="en-IE" smtClean="0"/>
              <a:t>03/07/2017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137338-1DA9-48FD-B81B-D2BBF48E18CE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061433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C7FB31-0C7B-4DF9-A9BC-6BD9C278B25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3815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137338-1DA9-48FD-B81B-D2BBF48E18CE}" type="slidenum">
              <a:rPr lang="en-IE" smtClean="0"/>
              <a:t>10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516222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137338-1DA9-48FD-B81B-D2BBF48E18CE}" type="slidenum">
              <a:rPr lang="en-IE" smtClean="0"/>
              <a:t>11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51622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137338-1DA9-48FD-B81B-D2BBF48E18CE}" type="slidenum">
              <a:rPr lang="en-IE" smtClean="0"/>
              <a:t>2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516222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137338-1DA9-48FD-B81B-D2BBF48E18CE}" type="slidenum">
              <a:rPr lang="en-IE" smtClean="0"/>
              <a:t>3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516222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137338-1DA9-48FD-B81B-D2BBF48E18CE}" type="slidenum">
              <a:rPr lang="en-IE" smtClean="0"/>
              <a:t>4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516222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137338-1DA9-48FD-B81B-D2BBF48E18CE}" type="slidenum">
              <a:rPr lang="en-IE" smtClean="0"/>
              <a:t>5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51622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137338-1DA9-48FD-B81B-D2BBF48E18CE}" type="slidenum">
              <a:rPr lang="en-IE" smtClean="0"/>
              <a:t>6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516222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137338-1DA9-48FD-B81B-D2BBF48E18CE}" type="slidenum">
              <a:rPr lang="en-IE" smtClean="0"/>
              <a:t>7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516222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137338-1DA9-48FD-B81B-D2BBF48E18CE}" type="slidenum">
              <a:rPr lang="en-IE" smtClean="0"/>
              <a:t>8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516222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137338-1DA9-48FD-B81B-D2BBF48E18CE}" type="slidenum">
              <a:rPr lang="en-IE" smtClean="0"/>
              <a:t>9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51622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95300" y="457201"/>
            <a:ext cx="8915400" cy="669925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sz="1700" baseline="0"/>
            </a:lvl1pPr>
          </a:lstStyle>
          <a:p>
            <a:r>
              <a:rPr lang="en-US" dirty="0" smtClean="0"/>
              <a:t>Sub-section divider slide</a:t>
            </a:r>
            <a:endParaRPr lang="en-US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95300" y="1371600"/>
            <a:ext cx="8906711" cy="175432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342900" indent="-342900">
              <a:spcBef>
                <a:spcPts val="2400"/>
              </a:spcBef>
              <a:spcAft>
                <a:spcPts val="0"/>
              </a:spcAft>
              <a:buFont typeface="+mj-lt"/>
              <a:buAutoNum type="arabicPeriod"/>
              <a:defRPr sz="1700" b="1"/>
            </a:lvl1pPr>
            <a:lvl2pPr marL="457200" indent="0">
              <a:spcBef>
                <a:spcPts val="1200"/>
              </a:spcBef>
              <a:spcAft>
                <a:spcPts val="0"/>
              </a:spcAft>
              <a:buFont typeface="+mj-lt"/>
              <a:buNone/>
              <a:defRPr sz="1300" b="1"/>
            </a:lvl2pPr>
          </a:lstStyle>
          <a:p>
            <a:r>
              <a:rPr lang="en-US" dirty="0" smtClean="0">
                <a:solidFill>
                  <a:schemeClr val="tx1"/>
                </a:solidFill>
              </a:rPr>
              <a:t>Subsection 1 title</a:t>
            </a:r>
            <a:r>
              <a:rPr lang="en-US" dirty="0" smtClean="0"/>
              <a:t> (16 </a:t>
            </a:r>
            <a:r>
              <a:rPr lang="en-US" dirty="0" err="1" smtClean="0"/>
              <a:t>pt</a:t>
            </a:r>
            <a:r>
              <a:rPr lang="en-US" dirty="0" smtClean="0"/>
              <a:t> Arial)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Subsection 2 titl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ubsection 3 title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409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95300" y="4123136"/>
            <a:ext cx="8915400" cy="822325"/>
          </a:xfrm>
          <a:prstGeom prst="rect">
            <a:avLst/>
          </a:prstGeom>
        </p:spPr>
        <p:txBody>
          <a:bodyPr lIns="0" tIns="0" rIns="0" bIns="0"/>
          <a:lstStyle>
            <a:lvl1pPr>
              <a:defRPr sz="3033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28 </a:t>
            </a:r>
            <a:r>
              <a:rPr lang="en-US" dirty="0" err="1" smtClean="0"/>
              <a:t>pt</a:t>
            </a:r>
            <a:r>
              <a:rPr lang="en-US" dirty="0" smtClean="0"/>
              <a:t> Arial Bold, 0.9 line spacing, max title is two lines. Title image is 3.75×9″ @300dpi.</a:t>
            </a:r>
            <a:endParaRPr lang="en-US" dirty="0"/>
          </a:p>
        </p:txBody>
      </p:sp>
      <p:sp>
        <p:nvSpPr>
          <p:cNvPr id="11" name="Subtitle 1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95300" y="5067300"/>
            <a:ext cx="8915400" cy="8382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905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25" baseline="0"/>
            </a:lvl1pPr>
          </a:lstStyle>
          <a:p>
            <a:r>
              <a:rPr lang="en-US" dirty="0" smtClean="0"/>
              <a:t>15 </a:t>
            </a:r>
            <a:r>
              <a:rPr lang="en-US" dirty="0" err="1" smtClean="0"/>
              <a:t>pt</a:t>
            </a:r>
            <a:r>
              <a:rPr lang="en-US" dirty="0" smtClean="0"/>
              <a:t> Arial, </a:t>
            </a:r>
            <a:r>
              <a:rPr lang="ru-RU" dirty="0" smtClean="0"/>
              <a:t>0</a:t>
            </a:r>
            <a:r>
              <a:rPr lang="en-US" dirty="0" smtClean="0"/>
              <a:t>.9 line spacing, max subtitle is four lines. Edit the Cover Master Slide to change the image on the cover page: Go to the View tab and click on Slide Master; Click on Slide Master #1 called “cover”; right-click on the picture, select “Change Picture” from the drop down menu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787" y="457200"/>
            <a:ext cx="8949913" cy="343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26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" name="think-cell Slide" r:id="rId6" imgW="476" imgH="476" progId="">
                  <p:embed/>
                </p:oleObj>
              </mc:Choice>
              <mc:Fallback>
                <p:oleObj name="think-cell Slide" r:id="rId6" imgW="476" imgH="476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71727" y="352016"/>
            <a:ext cx="9362546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727" y="1144588"/>
            <a:ext cx="9362546" cy="4951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4" name="Line 10"/>
          <p:cNvSpPr>
            <a:spLocks noChangeShapeType="1"/>
          </p:cNvSpPr>
          <p:nvPr/>
        </p:nvSpPr>
        <p:spPr bwMode="auto">
          <a:xfrm>
            <a:off x="271727" y="908050"/>
            <a:ext cx="9362546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71463" y="6453644"/>
            <a:ext cx="6537960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defRPr/>
            </a:pPr>
            <a:r>
              <a:rPr lang="en-US" sz="700" b="1" dirty="0" smtClean="0">
                <a:solidFill>
                  <a:schemeClr val="tx1"/>
                </a:solidFill>
              </a:rPr>
              <a:t>Aon Inpoint</a:t>
            </a:r>
            <a:r>
              <a:rPr lang="en-US" sz="700" dirty="0" smtClean="0">
                <a:solidFill>
                  <a:srgbClr val="4D4F53"/>
                </a:solidFill>
              </a:rPr>
              <a:t/>
            </a:r>
            <a:br>
              <a:rPr lang="en-US" sz="700" dirty="0" smtClean="0">
                <a:solidFill>
                  <a:srgbClr val="4D4F53"/>
                </a:solidFill>
              </a:rPr>
            </a:br>
            <a:r>
              <a:rPr lang="en-US" sz="700" dirty="0" smtClean="0">
                <a:solidFill>
                  <a:srgbClr val="4D4F53"/>
                </a:solidFill>
              </a:rPr>
              <a:t>Proprietary &amp; Confidentia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61448" y="6545983"/>
            <a:ext cx="383104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>
              <a:defRPr/>
            </a:pPr>
            <a:fld id="{BC0FA351-5A70-4EC9-BE2D-E8D941B01E50}" type="slidenum">
              <a:rPr lang="en-US" sz="800" smtClean="0">
                <a:solidFill>
                  <a:srgbClr val="4D4F53"/>
                </a:solidFill>
              </a:rPr>
              <a:pPr algn="ctr">
                <a:defRPr/>
              </a:pPr>
              <a:t>‹#›</a:t>
            </a:fld>
            <a:endParaRPr lang="en-US" sz="800" dirty="0" smtClean="0">
              <a:solidFill>
                <a:srgbClr val="4D4F53"/>
              </a:solidFill>
            </a:endParaRPr>
          </a:p>
        </p:txBody>
      </p:sp>
      <p:pic>
        <p:nvPicPr>
          <p:cNvPr id="10" name="Picture 28" descr="aon_logo_no_clear_space_red_CMYK"/>
          <p:cNvPicPr>
            <a:picLocks noChangeAspect="1" noChangeArrowheads="1"/>
          </p:cNvPicPr>
          <p:nvPr/>
        </p:nvPicPr>
        <p:blipFill>
          <a:blip r:embed="rId8" cstate="print"/>
          <a:stretch>
            <a:fillRect/>
          </a:stretch>
        </p:blipFill>
        <p:spPr bwMode="auto">
          <a:xfrm>
            <a:off x="8777849" y="6308725"/>
            <a:ext cx="855101" cy="3603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3186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E11B2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9pPr>
    </p:titleStyle>
    <p:bodyStyle>
      <a:lvl1pPr marL="228600" indent="-228600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–"/>
        <a:defRPr sz="1400">
          <a:solidFill>
            <a:schemeClr val="tx1"/>
          </a:solidFill>
          <a:latin typeface="+mn-lt"/>
          <a:ea typeface="+mn-ea"/>
        </a:defRPr>
      </a:lvl2pPr>
      <a:lvl3pPr marL="914400" indent="-228600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1254125" indent="-22542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"/>
        <a:defRPr sz="1400">
          <a:solidFill>
            <a:schemeClr val="tx1"/>
          </a:solidFill>
          <a:latin typeface="+mn-lt"/>
          <a:ea typeface="+mn-ea"/>
        </a:defRPr>
      </a:lvl4pPr>
      <a:lvl5pPr marL="16002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5pPr>
      <a:lvl6pPr marL="20574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6pPr>
      <a:lvl7pPr marL="25146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7pPr>
      <a:lvl8pPr marL="29718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8pPr>
      <a:lvl9pPr marL="34290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natnael.getu@aon.i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lastic.co/guide/en/elasticsearch/reference/current/search-search.html" TargetMode="External"/><Relationship Id="rId3" Type="http://schemas.openxmlformats.org/officeDocument/2006/relationships/hyperlink" Target="https://en.wikipedia.org/wiki/Bit_array" TargetMode="External"/><Relationship Id="rId7" Type="http://schemas.openxmlformats.org/officeDocument/2006/relationships/hyperlink" Target="https://www.elastic.co/guide/en/elasticsearch/reference/current/search-aggregations.htm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elastic.co/guide/en/elasticsearch/reference/current/query-dsl-function-score-query.html" TargetMode="External"/><Relationship Id="rId5" Type="http://schemas.openxmlformats.org/officeDocument/2006/relationships/hyperlink" Target="https://www.elastic.co/guide/en/elasticsearch/reference/current/mapping-parent-field.html" TargetMode="External"/><Relationship Id="rId4" Type="http://schemas.openxmlformats.org/officeDocument/2006/relationships/hyperlink" Target="http://www.elastic.co/blog/all-about-elasticsearch-filter-bitset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1950" dirty="0" smtClean="0">
                <a:solidFill>
                  <a:srgbClr val="DF2027"/>
                </a:solidFill>
              </a:rPr>
              <a:t/>
            </a:r>
            <a:br>
              <a:rPr lang="en-GB" sz="1950" dirty="0" smtClean="0">
                <a:solidFill>
                  <a:srgbClr val="DF2027"/>
                </a:solidFill>
              </a:rPr>
            </a:br>
            <a:r>
              <a:rPr lang="en-GB" sz="1950" dirty="0">
                <a:solidFill>
                  <a:srgbClr val="DF2027"/>
                </a:solidFill>
              </a:rPr>
              <a:t/>
            </a:r>
            <a:br>
              <a:rPr lang="en-GB" sz="1950" dirty="0">
                <a:solidFill>
                  <a:srgbClr val="DF2027"/>
                </a:solidFill>
              </a:rPr>
            </a:br>
            <a:r>
              <a:rPr lang="en-GB" sz="1950" dirty="0" smtClean="0">
                <a:solidFill>
                  <a:srgbClr val="DF2027"/>
                </a:solidFill>
              </a:rPr>
              <a:t/>
            </a:r>
            <a:br>
              <a:rPr lang="en-GB" sz="1950" dirty="0" smtClean="0">
                <a:solidFill>
                  <a:srgbClr val="DF2027"/>
                </a:solidFill>
              </a:rPr>
            </a:br>
            <a:r>
              <a:rPr lang="en-GB" sz="1950" dirty="0" err="1" smtClean="0">
                <a:solidFill>
                  <a:srgbClr val="DF2027"/>
                </a:solidFill>
              </a:rPr>
              <a:t>Elasticsearch</a:t>
            </a:r>
            <a:r>
              <a:rPr lang="en-GB" sz="1950" dirty="0" smtClean="0">
                <a:solidFill>
                  <a:srgbClr val="DF2027"/>
                </a:solidFill>
              </a:rPr>
              <a:t> – Carrier </a:t>
            </a:r>
            <a:r>
              <a:rPr lang="en-GB" sz="1950" dirty="0" err="1" smtClean="0">
                <a:solidFill>
                  <a:srgbClr val="DF2027"/>
                </a:solidFill>
              </a:rPr>
              <a:t>RiskView</a:t>
            </a:r>
            <a:endParaRPr lang="en-GB" sz="1733" dirty="0">
              <a:solidFill>
                <a:srgbClr val="DF202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6725" y="5067300"/>
            <a:ext cx="8915400" cy="838200"/>
          </a:xfrm>
          <a:ln>
            <a:noFill/>
          </a:ln>
        </p:spPr>
        <p:txBody>
          <a:bodyPr/>
          <a:lstStyle/>
          <a:p>
            <a:endParaRPr lang="en-GB" sz="14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	</a:t>
            </a:r>
            <a:endParaRPr lang="en-GB" sz="14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GB" sz="1100" dirty="0" smtClean="0">
                <a:solidFill>
                  <a:schemeClr val="bg1">
                    <a:lumMod val="50000"/>
                  </a:schemeClr>
                </a:solidFill>
              </a:rPr>
              <a:t>Date:</a:t>
            </a:r>
            <a:r>
              <a:rPr lang="en-GB" sz="1400" dirty="0" smtClean="0">
                <a:solidFill>
                  <a:schemeClr val="bg1">
                    <a:lumMod val="50000"/>
                  </a:schemeClr>
                </a:solidFill>
              </a:rPr>
              <a:t>	May 2017</a:t>
            </a:r>
          </a:p>
          <a:p>
            <a:endParaRPr lang="en-GB" sz="12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GB" sz="1100" dirty="0" smtClean="0">
                <a:solidFill>
                  <a:schemeClr val="bg1">
                    <a:lumMod val="50000"/>
                  </a:schemeClr>
                </a:solidFill>
              </a:rPr>
              <a:t>Contacts:</a:t>
            </a:r>
            <a:r>
              <a:rPr lang="en-GB" sz="1400" b="1" dirty="0">
                <a:solidFill>
                  <a:schemeClr val="bg1">
                    <a:lumMod val="50000"/>
                  </a:schemeClr>
                </a:solidFill>
              </a:rPr>
              <a:t>	</a:t>
            </a:r>
            <a:r>
              <a:rPr lang="en-GB" sz="1400" b="1" dirty="0" smtClean="0">
                <a:solidFill>
                  <a:schemeClr val="bg1">
                    <a:lumMod val="50000"/>
                  </a:schemeClr>
                </a:solidFill>
              </a:rPr>
              <a:t>Natnael Getu (</a:t>
            </a:r>
            <a:r>
              <a:rPr lang="en-GB" sz="1400" b="1" dirty="0" smtClean="0">
                <a:solidFill>
                  <a:schemeClr val="bg1">
                    <a:lumMod val="50000"/>
                  </a:schemeClr>
                </a:solidFill>
                <a:hlinkClick r:id="rId3"/>
              </a:rPr>
              <a:t>natnael.getu@aon.ie</a:t>
            </a:r>
            <a:r>
              <a:rPr lang="en-GB" sz="1400" b="1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endParaRPr lang="en-GB" sz="1400" b="1" dirty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482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00026"/>
            <a:ext cx="8915400" cy="669925"/>
          </a:xfrm>
        </p:spPr>
        <p:txBody>
          <a:bodyPr/>
          <a:lstStyle/>
          <a:p>
            <a:r>
              <a:rPr lang="en-US" sz="2000" b="1" dirty="0" smtClean="0"/>
              <a:t>Data Architecture Flow</a:t>
            </a:r>
            <a:endParaRPr lang="en-US" sz="2000" b="1" dirty="0"/>
          </a:p>
        </p:txBody>
      </p:sp>
      <p:sp>
        <p:nvSpPr>
          <p:cNvPr id="6" name="Can 5"/>
          <p:cNvSpPr/>
          <p:nvPr/>
        </p:nvSpPr>
        <p:spPr bwMode="auto">
          <a:xfrm>
            <a:off x="2630713" y="2046740"/>
            <a:ext cx="847725" cy="781048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08" charset="-128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IE" sz="2400" dirty="0" smtClean="0">
              <a:solidFill>
                <a:schemeClr val="tx1"/>
              </a:solidFill>
              <a:latin typeface="Arial" charset="0"/>
              <a:ea typeface="ＭＳ Ｐゴシック" pitchFamily="108" charset="-128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E" sz="1000" dirty="0" smtClean="0">
                <a:solidFill>
                  <a:schemeClr val="tx1"/>
                </a:solidFill>
                <a:latin typeface="Arial" charset="0"/>
                <a:ea typeface="ＭＳ Ｐゴシック" pitchFamily="108" charset="-128"/>
              </a:rPr>
              <a:t> </a:t>
            </a:r>
            <a:r>
              <a:rPr lang="en-IE" sz="1000" dirty="0" err="1" smtClean="0">
                <a:solidFill>
                  <a:schemeClr val="tx1"/>
                </a:solidFill>
                <a:latin typeface="Arial" charset="0"/>
                <a:ea typeface="ＭＳ Ｐゴシック" pitchFamily="108" charset="-128"/>
              </a:rPr>
              <a:t>Veritas</a:t>
            </a:r>
            <a:r>
              <a:rPr lang="en-IE" sz="1000" dirty="0" smtClean="0">
                <a:solidFill>
                  <a:schemeClr val="tx1"/>
                </a:solidFill>
                <a:latin typeface="Arial" charset="0"/>
                <a:ea typeface="ＭＳ Ｐゴシック" pitchFamily="108" charset="-128"/>
              </a:rPr>
              <a:t> DB</a:t>
            </a: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35" name="Can 34"/>
          <p:cNvSpPr/>
          <p:nvPr/>
        </p:nvSpPr>
        <p:spPr bwMode="auto">
          <a:xfrm>
            <a:off x="5931119" y="1632404"/>
            <a:ext cx="485779" cy="414336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36" name="Can 35"/>
          <p:cNvSpPr/>
          <p:nvPr/>
        </p:nvSpPr>
        <p:spPr bwMode="auto">
          <a:xfrm>
            <a:off x="5945410" y="2827788"/>
            <a:ext cx="485779" cy="509589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37" name="Can 36"/>
          <p:cNvSpPr/>
          <p:nvPr/>
        </p:nvSpPr>
        <p:spPr bwMode="auto">
          <a:xfrm>
            <a:off x="5945409" y="2165204"/>
            <a:ext cx="485780" cy="490536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pic>
        <p:nvPicPr>
          <p:cNvPr id="2052" name="Picture 4" descr="C:\Users\a0732249\Desktop\GearsIc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7081" y="2073529"/>
            <a:ext cx="1133479" cy="72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Arrow Connector 18"/>
          <p:cNvCxnSpPr/>
          <p:nvPr/>
        </p:nvCxnSpPr>
        <p:spPr bwMode="auto">
          <a:xfrm>
            <a:off x="3602264" y="2437264"/>
            <a:ext cx="40957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2" name="Straight Arrow Connector 31"/>
          <p:cNvCxnSpPr/>
          <p:nvPr/>
        </p:nvCxnSpPr>
        <p:spPr bwMode="auto">
          <a:xfrm flipV="1">
            <a:off x="5254852" y="1903568"/>
            <a:ext cx="585787" cy="23395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4" name="Straight Arrow Connector 33"/>
          <p:cNvCxnSpPr>
            <a:stCxn id="2052" idx="3"/>
          </p:cNvCxnSpPr>
          <p:nvPr/>
        </p:nvCxnSpPr>
        <p:spPr bwMode="auto">
          <a:xfrm>
            <a:off x="5240560" y="2437264"/>
            <a:ext cx="600079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2" name="Straight Arrow Connector 41"/>
          <p:cNvCxnSpPr/>
          <p:nvPr/>
        </p:nvCxnSpPr>
        <p:spPr bwMode="auto">
          <a:xfrm>
            <a:off x="5240560" y="2682532"/>
            <a:ext cx="600079" cy="40005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055" name="Flowchart: Direct Access Storage 2054"/>
          <p:cNvSpPr/>
          <p:nvPr/>
        </p:nvSpPr>
        <p:spPr bwMode="auto">
          <a:xfrm rot="16200000">
            <a:off x="4280223" y="3663298"/>
            <a:ext cx="825302" cy="1657351"/>
          </a:xfrm>
          <a:prstGeom prst="flowChartMagneticDrum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2066" name="Rectangle 2065"/>
          <p:cNvSpPr/>
          <p:nvPr/>
        </p:nvSpPr>
        <p:spPr>
          <a:xfrm>
            <a:off x="5531074" y="3436551"/>
            <a:ext cx="12779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dirty="0">
                <a:latin typeface="Arial" charset="0"/>
                <a:ea typeface="ＭＳ Ｐゴシック" pitchFamily="108" charset="-128"/>
              </a:rPr>
              <a:t> </a:t>
            </a:r>
            <a:r>
              <a:rPr lang="en-IE" dirty="0" smtClean="0">
                <a:latin typeface="Arial" charset="0"/>
                <a:ea typeface="ＭＳ Ｐゴシック" pitchFamily="108" charset="-128"/>
              </a:rPr>
              <a:t>  </a:t>
            </a:r>
            <a:r>
              <a:rPr lang="en-IE" sz="1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ＭＳ Ｐゴシック" pitchFamily="108" charset="-128"/>
              </a:rPr>
              <a:t>Applications DB</a:t>
            </a:r>
            <a:endParaRPr lang="en-IE" sz="1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4254720" y="1594242"/>
            <a:ext cx="508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dirty="0">
                <a:latin typeface="Arial" charset="0"/>
                <a:ea typeface="ＭＳ Ｐゴシック" pitchFamily="108" charset="-128"/>
              </a:rPr>
              <a:t> </a:t>
            </a:r>
            <a:r>
              <a:rPr lang="en-IE" sz="11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ＭＳ Ｐゴシック" pitchFamily="108" charset="-128"/>
              </a:rPr>
              <a:t>ETL</a:t>
            </a:r>
            <a:endParaRPr lang="en-IE" sz="1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9" name="Can 88"/>
          <p:cNvSpPr/>
          <p:nvPr/>
        </p:nvSpPr>
        <p:spPr bwMode="auto">
          <a:xfrm>
            <a:off x="4102323" y="4476033"/>
            <a:ext cx="304795" cy="273439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90" name="Can 89"/>
          <p:cNvSpPr/>
          <p:nvPr/>
        </p:nvSpPr>
        <p:spPr bwMode="auto">
          <a:xfrm>
            <a:off x="4597494" y="4476034"/>
            <a:ext cx="304795" cy="273438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91" name="Can 90"/>
          <p:cNvSpPr/>
          <p:nvPr/>
        </p:nvSpPr>
        <p:spPr bwMode="auto">
          <a:xfrm>
            <a:off x="5050067" y="4476035"/>
            <a:ext cx="304795" cy="273436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3867350" y="4839649"/>
            <a:ext cx="16129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dirty="0">
                <a:latin typeface="Arial" charset="0"/>
                <a:ea typeface="ＭＳ Ｐゴシック" pitchFamily="108" charset="-128"/>
              </a:rPr>
              <a:t> </a:t>
            </a:r>
            <a:r>
              <a:rPr lang="en-IE" dirty="0" smtClean="0">
                <a:latin typeface="Arial" charset="0"/>
                <a:ea typeface="ＭＳ Ｐゴシック" pitchFamily="108" charset="-128"/>
              </a:rPr>
              <a:t>  </a:t>
            </a:r>
            <a:r>
              <a:rPr lang="en-IE" sz="1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ＭＳ Ｐゴシック" pitchFamily="108" charset="-128"/>
              </a:rPr>
              <a:t>Elasticsearch</a:t>
            </a:r>
            <a:r>
              <a:rPr lang="en-IE" sz="1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ＭＳ Ｐゴシック" pitchFamily="108" charset="-128"/>
              </a:rPr>
              <a:t> Cluster</a:t>
            </a:r>
            <a:endParaRPr lang="en-IE" sz="1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93" name="Straight Arrow Connector 92"/>
          <p:cNvCxnSpPr>
            <a:stCxn id="2052" idx="2"/>
          </p:cNvCxnSpPr>
          <p:nvPr/>
        </p:nvCxnSpPr>
        <p:spPr bwMode="auto">
          <a:xfrm>
            <a:off x="4673821" y="2800999"/>
            <a:ext cx="0" cy="112059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071" name="Lightning Bolt 2070"/>
          <p:cNvSpPr/>
          <p:nvPr/>
        </p:nvSpPr>
        <p:spPr bwMode="auto">
          <a:xfrm rot="1264887" flipH="1">
            <a:off x="5355303" y="3270997"/>
            <a:ext cx="242962" cy="677841"/>
          </a:xfrm>
          <a:prstGeom prst="lightningBol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01" name="Lightning Bolt 100"/>
          <p:cNvSpPr/>
          <p:nvPr/>
        </p:nvSpPr>
        <p:spPr bwMode="auto">
          <a:xfrm rot="311841" flipH="1">
            <a:off x="7830782" y="4623497"/>
            <a:ext cx="128590" cy="300087"/>
          </a:xfrm>
          <a:prstGeom prst="lightningBol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7895077" y="4588874"/>
            <a:ext cx="174919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dirty="0">
                <a:latin typeface="Arial" charset="0"/>
                <a:ea typeface="ＭＳ Ｐゴシック" pitchFamily="108" charset="-128"/>
              </a:rPr>
              <a:t> </a:t>
            </a:r>
            <a:r>
              <a:rPr lang="en-IE" dirty="0" smtClean="0">
                <a:latin typeface="Arial" charset="0"/>
                <a:ea typeface="ＭＳ Ｐゴシック" pitchFamily="108" charset="-128"/>
              </a:rPr>
              <a:t> </a:t>
            </a:r>
            <a:r>
              <a:rPr lang="en-IE" sz="900" b="1" i="1" dirty="0" smtClean="0">
                <a:latin typeface="Arial" charset="0"/>
                <a:ea typeface="ＭＳ Ｐゴシック" pitchFamily="108" charset="-128"/>
              </a:rPr>
              <a:t>CRUD</a:t>
            </a:r>
            <a:r>
              <a:rPr lang="en-IE" sz="900" i="1" dirty="0" smtClean="0">
                <a:latin typeface="Arial" charset="0"/>
                <a:ea typeface="ＭＳ Ｐゴシック" pitchFamily="108" charset="-128"/>
              </a:rPr>
              <a:t> Operations Event</a:t>
            </a:r>
          </a:p>
          <a:p>
            <a:r>
              <a:rPr lang="en-IE" sz="900" i="1" dirty="0" smtClean="0">
                <a:latin typeface="Arial" charset="0"/>
                <a:ea typeface="ＭＳ Ｐゴシック" pitchFamily="108" charset="-128"/>
              </a:rPr>
              <a:t>From the Application Services </a:t>
            </a:r>
          </a:p>
          <a:p>
            <a:r>
              <a:rPr lang="en-IE" sz="900" i="1" dirty="0" smtClean="0">
                <a:latin typeface="Arial" charset="0"/>
                <a:ea typeface="ＭＳ Ｐゴシック" pitchFamily="108" charset="-128"/>
              </a:rPr>
              <a:t>Or Application DB</a:t>
            </a:r>
            <a:endParaRPr lang="en-IE" sz="900" i="1" dirty="0"/>
          </a:p>
        </p:txBody>
      </p:sp>
      <p:sp>
        <p:nvSpPr>
          <p:cNvPr id="106" name="Can 105"/>
          <p:cNvSpPr/>
          <p:nvPr/>
        </p:nvSpPr>
        <p:spPr bwMode="auto">
          <a:xfrm flipV="1">
            <a:off x="304805" y="4935572"/>
            <a:ext cx="447670" cy="45719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07" name="Can 106"/>
          <p:cNvSpPr/>
          <p:nvPr/>
        </p:nvSpPr>
        <p:spPr bwMode="auto">
          <a:xfrm>
            <a:off x="304805" y="5235205"/>
            <a:ext cx="447670" cy="69426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986291" y="4839649"/>
            <a:ext cx="84510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900" i="1" dirty="0" smtClean="0"/>
              <a:t>Master Node</a:t>
            </a:r>
            <a:endParaRPr lang="en-IE" sz="900" i="1" dirty="0"/>
          </a:p>
        </p:txBody>
      </p:sp>
      <p:sp>
        <p:nvSpPr>
          <p:cNvPr id="112" name="Rectangle 111"/>
          <p:cNvSpPr/>
          <p:nvPr/>
        </p:nvSpPr>
        <p:spPr>
          <a:xfrm>
            <a:off x="986291" y="5119789"/>
            <a:ext cx="78098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900" i="1" dirty="0" smtClean="0"/>
              <a:t>Slave Node</a:t>
            </a:r>
            <a:endParaRPr lang="en-IE" sz="900" i="1" dirty="0"/>
          </a:p>
        </p:txBody>
      </p:sp>
    </p:spTree>
    <p:extLst>
      <p:ext uri="{BB962C8B-B14F-4D97-AF65-F5344CB8AC3E}">
        <p14:creationId xmlns:p14="http://schemas.microsoft.com/office/powerpoint/2010/main" val="2232095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00026"/>
            <a:ext cx="8915400" cy="669925"/>
          </a:xfrm>
        </p:spPr>
        <p:txBody>
          <a:bodyPr/>
          <a:lstStyle/>
          <a:p>
            <a:r>
              <a:rPr lang="en-US" sz="2000" b="1" dirty="0" smtClean="0"/>
              <a:t>Conclusion</a:t>
            </a:r>
            <a:endParaRPr lang="en-US" sz="2000" b="1" dirty="0"/>
          </a:p>
        </p:txBody>
      </p:sp>
      <p:sp>
        <p:nvSpPr>
          <p:cNvPr id="3" name="Rectangle 2"/>
          <p:cNvSpPr/>
          <p:nvPr/>
        </p:nvSpPr>
        <p:spPr>
          <a:xfrm>
            <a:off x="485774" y="1215048"/>
            <a:ext cx="9115425" cy="13696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sz="1400" dirty="0"/>
              <a:t>Increase Productivity</a:t>
            </a:r>
          </a:p>
          <a:p>
            <a:pPr marL="231775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sz="1400" dirty="0"/>
              <a:t>Performance Improvement</a:t>
            </a:r>
          </a:p>
          <a:p>
            <a:pPr marL="231775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sz="1400" dirty="0"/>
              <a:t>More functionalities </a:t>
            </a:r>
          </a:p>
          <a:p>
            <a:pPr marL="231775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sz="1400" dirty="0"/>
              <a:t>Simplicity</a:t>
            </a:r>
          </a:p>
          <a:p>
            <a:pPr marL="231775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sz="1400" dirty="0"/>
              <a:t>Centralized </a:t>
            </a:r>
            <a:r>
              <a:rPr lang="en-IE" sz="1400"/>
              <a:t>Search </a:t>
            </a:r>
            <a:r>
              <a:rPr lang="en-IE" sz="1400" smtClean="0"/>
              <a:t>API</a:t>
            </a:r>
            <a:endParaRPr lang="en-IE" sz="1400" dirty="0"/>
          </a:p>
        </p:txBody>
      </p:sp>
    </p:spTree>
    <p:extLst>
      <p:ext uri="{BB962C8B-B14F-4D97-AF65-F5344CB8AC3E}">
        <p14:creationId xmlns:p14="http://schemas.microsoft.com/office/powerpoint/2010/main" val="221338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00026"/>
            <a:ext cx="8915400" cy="669925"/>
          </a:xfrm>
        </p:spPr>
        <p:txBody>
          <a:bodyPr/>
          <a:lstStyle/>
          <a:p>
            <a:r>
              <a:rPr lang="en-US" sz="2000" b="1" dirty="0" smtClean="0"/>
              <a:t>Problems</a:t>
            </a:r>
            <a:endParaRPr lang="en-US" sz="2000" b="1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485775" y="1390651"/>
            <a:ext cx="9144000" cy="4016484"/>
          </a:xfrm>
          <a:ln>
            <a:noFill/>
          </a:ln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b="0" dirty="0"/>
              <a:t>We don’t have </a:t>
            </a:r>
            <a:r>
              <a:rPr lang="en-IE" b="0" u="sng" dirty="0"/>
              <a:t>Full Search </a:t>
            </a:r>
            <a:r>
              <a:rPr lang="en-IE" b="0" dirty="0"/>
              <a:t>Capabilit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E" b="0" dirty="0"/>
              <a:t>All fields </a:t>
            </a:r>
            <a:r>
              <a:rPr lang="en-IE" b="0" dirty="0" smtClean="0"/>
              <a:t>aren't </a:t>
            </a:r>
            <a:r>
              <a:rPr lang="en-IE" b="0" dirty="0"/>
              <a:t>available as filter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E" b="0" dirty="0"/>
              <a:t>User doesn’t</a:t>
            </a:r>
            <a:r>
              <a:rPr lang="en-IE" b="0" dirty="0" smtClean="0"/>
              <a:t> </a:t>
            </a:r>
            <a:r>
              <a:rPr lang="en-IE" b="0" dirty="0"/>
              <a:t>allow to customize filter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E" b="0" dirty="0"/>
              <a:t>User </a:t>
            </a:r>
            <a:r>
              <a:rPr lang="en-IE" b="0" dirty="0" smtClean="0"/>
              <a:t>doesn’t </a:t>
            </a:r>
            <a:r>
              <a:rPr lang="en-IE" b="0" dirty="0"/>
              <a:t>allow to aggregate the dat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E" b="0" dirty="0"/>
              <a:t>User has just standalone(defined upfront) visualizations in terms of data and Char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b="0" dirty="0"/>
              <a:t>Integrations of New </a:t>
            </a:r>
            <a:r>
              <a:rPr lang="en-IE" b="0" dirty="0" smtClean="0"/>
              <a:t>Field </a:t>
            </a:r>
            <a:r>
              <a:rPr lang="en-IE" b="0" dirty="0"/>
              <a:t>(</a:t>
            </a:r>
            <a:r>
              <a:rPr lang="en-IE" b="0" dirty="0" err="1"/>
              <a:t>eg</a:t>
            </a:r>
            <a:r>
              <a:rPr lang="en-IE" b="0" dirty="0"/>
              <a:t>. Risk/View Pipeline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E" b="0" dirty="0"/>
              <a:t>Change Tables Schem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E" b="0" dirty="0"/>
              <a:t>Change </a:t>
            </a:r>
            <a:r>
              <a:rPr lang="en-IE" b="0" dirty="0">
                <a:solidFill>
                  <a:srgbClr val="FF0000"/>
                </a:solidFill>
              </a:rPr>
              <a:t>Stored Procedu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E" b="0" dirty="0"/>
              <a:t>Change API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E" b="0" dirty="0"/>
              <a:t>Change SP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207291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00026"/>
            <a:ext cx="8915400" cy="669925"/>
          </a:xfrm>
        </p:spPr>
        <p:txBody>
          <a:bodyPr/>
          <a:lstStyle/>
          <a:p>
            <a:r>
              <a:rPr lang="en-US" sz="2000" b="1" dirty="0" smtClean="0"/>
              <a:t>Why </a:t>
            </a:r>
            <a:r>
              <a:rPr lang="en-US" sz="2000" b="1" dirty="0" err="1" smtClean="0"/>
              <a:t>Elasticsearch</a:t>
            </a:r>
            <a:endParaRPr lang="en-US" sz="2000" b="1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514350" y="1862137"/>
            <a:ext cx="9144000" cy="3071610"/>
          </a:xfrm>
          <a:ln>
            <a:noFill/>
          </a:ln>
        </p:spPr>
        <p:txBody>
          <a:bodyPr/>
          <a:lstStyle/>
          <a:p>
            <a:pPr marL="231775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b="0" dirty="0"/>
              <a:t>Standalone Capabilities </a:t>
            </a:r>
            <a:endParaRPr lang="en-IE" b="0" dirty="0" smtClean="0"/>
          </a:p>
          <a:p>
            <a:pPr marL="688975" lvl="1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b="0" dirty="0" err="1" smtClean="0"/>
              <a:t>Lucene</a:t>
            </a:r>
            <a:r>
              <a:rPr lang="en-IE" b="0" dirty="0" smtClean="0"/>
              <a:t> </a:t>
            </a:r>
            <a:r>
              <a:rPr lang="en-IE" b="0" dirty="0"/>
              <a:t>as Search Engine </a:t>
            </a:r>
          </a:p>
          <a:p>
            <a:pPr marL="688975" lvl="1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b="0" dirty="0" err="1"/>
              <a:t>Json</a:t>
            </a:r>
            <a:r>
              <a:rPr lang="en-IE" b="0" dirty="0"/>
              <a:t> Base document </a:t>
            </a:r>
          </a:p>
          <a:p>
            <a:pPr marL="688975" lvl="1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b="0" dirty="0" err="1" smtClean="0"/>
              <a:t>Schemaless</a:t>
            </a:r>
            <a:endParaRPr lang="en-IE" b="0" dirty="0"/>
          </a:p>
          <a:p>
            <a:pPr marL="688975" lvl="1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b="0" dirty="0" err="1"/>
              <a:t>Fulltext</a:t>
            </a:r>
            <a:r>
              <a:rPr lang="en-IE" b="0" dirty="0"/>
              <a:t> search</a:t>
            </a:r>
          </a:p>
          <a:p>
            <a:pPr marL="688975" lvl="1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b="0" dirty="0" smtClean="0"/>
              <a:t>Powerful Aggregations (</a:t>
            </a:r>
            <a:r>
              <a:rPr lang="en-IE" sz="1000" b="0" i="1" dirty="0" smtClean="0"/>
              <a:t>Count, </a:t>
            </a:r>
            <a:r>
              <a:rPr lang="en-IE" sz="1000" b="0" i="1" dirty="0" err="1" smtClean="0"/>
              <a:t>Avg</a:t>
            </a:r>
            <a:r>
              <a:rPr lang="en-IE" sz="1000" b="0" i="1" dirty="0" smtClean="0"/>
              <a:t>, Sum, Standard Deviation, Mean</a:t>
            </a:r>
            <a:r>
              <a:rPr lang="en-IE" sz="1000" b="0" i="1" dirty="0"/>
              <a:t>, </a:t>
            </a:r>
            <a:r>
              <a:rPr lang="en-IE" sz="1000" b="0" i="1" dirty="0" smtClean="0"/>
              <a:t>derivative, Variance, Commutative Sum, etc..</a:t>
            </a:r>
            <a:r>
              <a:rPr lang="en-IE" b="0" dirty="0" smtClean="0"/>
              <a:t>)</a:t>
            </a:r>
            <a:endParaRPr lang="en-IE" b="0" dirty="0"/>
          </a:p>
          <a:p>
            <a:pPr marL="688975" lvl="1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b="0" dirty="0"/>
              <a:t>Advanced </a:t>
            </a:r>
            <a:r>
              <a:rPr lang="en-IE" b="0" dirty="0" smtClean="0"/>
              <a:t>search</a:t>
            </a:r>
            <a:endParaRPr lang="en-IE" b="0" dirty="0"/>
          </a:p>
          <a:p>
            <a:pPr marL="688975" lvl="1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b="0" dirty="0"/>
              <a:t>High Availability (</a:t>
            </a:r>
            <a:r>
              <a:rPr lang="en-IE" b="0" dirty="0" smtClean="0"/>
              <a:t>Cluster - Nodes)</a:t>
            </a:r>
          </a:p>
          <a:p>
            <a:pPr marL="688975" lvl="1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b="0" dirty="0" smtClean="0"/>
              <a:t>Document Relevance </a:t>
            </a:r>
          </a:p>
          <a:p>
            <a:pPr marL="688975" lvl="1" indent="-231775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E" b="0" dirty="0" smtClean="0"/>
              <a:t>….</a:t>
            </a:r>
            <a:endParaRPr lang="en-IE" b="0" dirty="0"/>
          </a:p>
          <a:p>
            <a:endParaRPr lang="en-GB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Picture 2" descr="C:\Users\a0732249\Desktop\oneQuery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7225" y="971549"/>
            <a:ext cx="5219700" cy="2238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1928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00026"/>
            <a:ext cx="8915400" cy="669925"/>
          </a:xfrm>
        </p:spPr>
        <p:txBody>
          <a:bodyPr/>
          <a:lstStyle/>
          <a:p>
            <a:r>
              <a:rPr lang="en-US" sz="2000" b="1" dirty="0" smtClean="0"/>
              <a:t>How to ?</a:t>
            </a:r>
            <a:endParaRPr lang="en-US" sz="2000" b="1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485775" y="1390651"/>
            <a:ext cx="9144000" cy="2831544"/>
          </a:xfrm>
          <a:ln>
            <a:noFill/>
          </a:ln>
        </p:spPr>
        <p:txBody>
          <a:bodyPr/>
          <a:lstStyle/>
          <a:p>
            <a:r>
              <a: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anage 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lational Database </a:t>
            </a:r>
            <a:endParaRPr lang="en-GB" sz="14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alysis for Pipeline Risk/View and Other Applications</a:t>
            </a:r>
          </a:p>
          <a:p>
            <a:r>
              <a:rPr lang="en-GB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erformance and Flexibility</a:t>
            </a:r>
          </a:p>
          <a:p>
            <a:r>
              <a:rPr lang="en-GB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 Single Endpoint (API) as access Data </a:t>
            </a:r>
          </a:p>
          <a:p>
            <a:r>
              <a:rPr lang="en-GB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ableau chart Build using D3 and </a:t>
            </a:r>
            <a:r>
              <a:rPr lang="en-GB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lasticsearch</a:t>
            </a:r>
            <a:endParaRPr lang="en-GB" sz="14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GB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712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255" y="167494"/>
            <a:ext cx="8915400" cy="669925"/>
          </a:xfrm>
        </p:spPr>
        <p:txBody>
          <a:bodyPr/>
          <a:lstStyle/>
          <a:p>
            <a:r>
              <a:rPr lang="en-US" sz="2000" b="1" dirty="0" smtClean="0"/>
              <a:t>Manage Relational Database in </a:t>
            </a:r>
            <a:r>
              <a:rPr lang="en-US" sz="2000" b="1" dirty="0" err="1" smtClean="0"/>
              <a:t>Elasticsearch</a:t>
            </a:r>
            <a:endParaRPr lang="en-US" sz="2000" b="1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344489034"/>
              </p:ext>
            </p:extLst>
          </p:nvPr>
        </p:nvGraphicFramePr>
        <p:xfrm>
          <a:off x="1155699" y="1361016"/>
          <a:ext cx="7521575" cy="47445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857250" y="3438525"/>
            <a:ext cx="206692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100" i="1" dirty="0" smtClean="0"/>
              <a:t>Slow to Read, Fast Insert/Update operations </a:t>
            </a:r>
            <a:endParaRPr lang="en-IE" sz="1100" i="1" dirty="0"/>
          </a:p>
        </p:txBody>
      </p:sp>
      <p:sp>
        <p:nvSpPr>
          <p:cNvPr id="8" name="TextBox 7"/>
          <p:cNvSpPr txBox="1"/>
          <p:nvPr/>
        </p:nvSpPr>
        <p:spPr>
          <a:xfrm>
            <a:off x="3486150" y="5915025"/>
            <a:ext cx="4191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100" i="1" dirty="0" smtClean="0"/>
              <a:t>Fast to Read - Fast  Insert/Update operations</a:t>
            </a:r>
            <a:endParaRPr lang="en-IE" sz="11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572124" y="1409700"/>
            <a:ext cx="37814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100" i="1" dirty="0" smtClean="0"/>
              <a:t>Very  Fast  to Read -  Complex  Update Operations</a:t>
            </a:r>
            <a:endParaRPr lang="en-IE" sz="1100" i="1" dirty="0"/>
          </a:p>
        </p:txBody>
      </p:sp>
      <p:sp>
        <p:nvSpPr>
          <p:cNvPr id="10" name="TextBox 9"/>
          <p:cNvSpPr txBox="1"/>
          <p:nvPr/>
        </p:nvSpPr>
        <p:spPr>
          <a:xfrm>
            <a:off x="6553199" y="2924175"/>
            <a:ext cx="29718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100" i="1" dirty="0" smtClean="0"/>
              <a:t>Very Fast to Read, Complex  Update Operations</a:t>
            </a:r>
            <a:endParaRPr lang="en-IE" sz="1100" i="1" dirty="0"/>
          </a:p>
        </p:txBody>
      </p:sp>
    </p:spTree>
    <p:extLst>
      <p:ext uri="{BB962C8B-B14F-4D97-AF65-F5344CB8AC3E}">
        <p14:creationId xmlns:p14="http://schemas.microsoft.com/office/powerpoint/2010/main" val="982119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00026"/>
            <a:ext cx="8915400" cy="669925"/>
          </a:xfrm>
        </p:spPr>
        <p:txBody>
          <a:bodyPr/>
          <a:lstStyle/>
          <a:p>
            <a:r>
              <a:rPr lang="en-US" sz="2000" b="1" dirty="0" smtClean="0"/>
              <a:t>Pipeline Opportunities - Use case</a:t>
            </a:r>
            <a:endParaRPr lang="en-US" sz="2000" b="1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520761876"/>
              </p:ext>
            </p:extLst>
          </p:nvPr>
        </p:nvGraphicFramePr>
        <p:xfrm>
          <a:off x="1555750" y="1932516"/>
          <a:ext cx="6604000" cy="30681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51058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00026"/>
            <a:ext cx="8915400" cy="669925"/>
          </a:xfrm>
        </p:spPr>
        <p:txBody>
          <a:bodyPr/>
          <a:lstStyle/>
          <a:p>
            <a:r>
              <a:rPr lang="en-US" sz="2000" b="1" dirty="0" smtClean="0"/>
              <a:t>_Parent / Child </a:t>
            </a:r>
            <a:endParaRPr lang="en-US" sz="2000" b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5077" y="1971675"/>
            <a:ext cx="3648074" cy="335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400175" y="1412833"/>
            <a:ext cx="69723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200" i="1" dirty="0" smtClean="0"/>
              <a:t>Define upfront the Mapping for each Type of your Data  by defining who is _parent and child</a:t>
            </a:r>
            <a:endParaRPr lang="en-IE" sz="1200" i="1" dirty="0"/>
          </a:p>
        </p:txBody>
      </p:sp>
    </p:spTree>
    <p:extLst>
      <p:ext uri="{BB962C8B-B14F-4D97-AF65-F5344CB8AC3E}">
        <p14:creationId xmlns:p14="http://schemas.microsoft.com/office/powerpoint/2010/main" val="880894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00026"/>
            <a:ext cx="8915400" cy="669925"/>
          </a:xfrm>
        </p:spPr>
        <p:txBody>
          <a:bodyPr/>
          <a:lstStyle/>
          <a:p>
            <a:r>
              <a:rPr lang="en-US" sz="2000" b="1" dirty="0" smtClean="0"/>
              <a:t>Architecture Flow – Solutions (based on the current situation)</a:t>
            </a:r>
            <a:endParaRPr lang="en-US" sz="2000" b="1" dirty="0"/>
          </a:p>
        </p:txBody>
      </p:sp>
      <p:sp>
        <p:nvSpPr>
          <p:cNvPr id="4" name="Rounded Rectangle 3"/>
          <p:cNvSpPr/>
          <p:nvPr/>
        </p:nvSpPr>
        <p:spPr bwMode="auto">
          <a:xfrm rot="16200000">
            <a:off x="2059031" y="1456156"/>
            <a:ext cx="1904998" cy="18192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6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Application layer</a:t>
            </a:r>
            <a:endParaRPr kumimoji="0" lang="en-IE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2721019" y="2114588"/>
            <a:ext cx="914396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0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Appetite</a:t>
            </a: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50" name="Rounded Rectangle 49"/>
          <p:cNvSpPr/>
          <p:nvPr/>
        </p:nvSpPr>
        <p:spPr bwMode="auto">
          <a:xfrm>
            <a:off x="2721019" y="1708563"/>
            <a:ext cx="914396" cy="292901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0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Pipeline</a:t>
            </a: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51" name="Rounded Rectangle 50"/>
          <p:cNvSpPr/>
          <p:nvPr/>
        </p:nvSpPr>
        <p:spPr bwMode="auto">
          <a:xfrm>
            <a:off x="2721019" y="2475957"/>
            <a:ext cx="914396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0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Mobile</a:t>
            </a: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52" name="Rounded Rectangle 51"/>
          <p:cNvSpPr/>
          <p:nvPr/>
        </p:nvSpPr>
        <p:spPr bwMode="auto">
          <a:xfrm>
            <a:off x="2721019" y="2856325"/>
            <a:ext cx="914396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0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Others</a:t>
            </a: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53" name="Rounded Rectangle 52"/>
          <p:cNvSpPr/>
          <p:nvPr/>
        </p:nvSpPr>
        <p:spPr bwMode="auto">
          <a:xfrm rot="16200000">
            <a:off x="4167965" y="1477587"/>
            <a:ext cx="1862134" cy="18192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6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  Service Layer</a:t>
            </a:r>
            <a:endParaRPr kumimoji="0" lang="en-IE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55" name="Rounded Rectangle 54"/>
          <p:cNvSpPr/>
          <p:nvPr/>
        </p:nvSpPr>
        <p:spPr bwMode="auto">
          <a:xfrm>
            <a:off x="4773257" y="1708563"/>
            <a:ext cx="981072" cy="238133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0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Application</a:t>
            </a: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56" name="Rounded Rectangle 55"/>
          <p:cNvSpPr/>
          <p:nvPr/>
        </p:nvSpPr>
        <p:spPr bwMode="auto">
          <a:xfrm>
            <a:off x="4759360" y="2070513"/>
            <a:ext cx="981072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000" dirty="0" err="1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Elasticsearch</a:t>
            </a: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57" name="Rounded Rectangle 56"/>
          <p:cNvSpPr/>
          <p:nvPr/>
        </p:nvSpPr>
        <p:spPr bwMode="auto">
          <a:xfrm>
            <a:off x="4768494" y="2446165"/>
            <a:ext cx="990598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0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Authorization</a:t>
            </a: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58" name="Rounded Rectangle 57"/>
          <p:cNvSpPr/>
          <p:nvPr/>
        </p:nvSpPr>
        <p:spPr bwMode="auto">
          <a:xfrm>
            <a:off x="4759360" y="2821818"/>
            <a:ext cx="990598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0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Others</a:t>
            </a: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59" name="Rounded Rectangle 58"/>
          <p:cNvSpPr/>
          <p:nvPr/>
        </p:nvSpPr>
        <p:spPr bwMode="auto">
          <a:xfrm rot="16200000">
            <a:off x="6275444" y="1499019"/>
            <a:ext cx="1819271" cy="18192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6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    Data Layer</a:t>
            </a:r>
            <a:endParaRPr kumimoji="0" lang="en-IE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5" name="Can 14"/>
          <p:cNvSpPr/>
          <p:nvPr/>
        </p:nvSpPr>
        <p:spPr bwMode="auto">
          <a:xfrm>
            <a:off x="6910459" y="1832387"/>
            <a:ext cx="831830" cy="514351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E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108" charset="-128"/>
              </a:rPr>
              <a:t> </a:t>
            </a:r>
            <a:r>
              <a:rPr kumimoji="0" lang="en-IE" sz="9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108" charset="-128"/>
              </a:rPr>
              <a:t> </a:t>
            </a:r>
            <a:r>
              <a:rPr kumimoji="0" lang="en-IE" sz="9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108" charset="-128"/>
              </a:rPr>
              <a:t>Carrier</a:t>
            </a:r>
            <a:r>
              <a:rPr kumimoji="0" lang="en-IE" sz="10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108" charset="-128"/>
              </a:rPr>
              <a:t>D</a:t>
            </a:r>
            <a:r>
              <a:rPr lang="en-IE" sz="1000" dirty="0" err="1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B</a:t>
            </a:r>
            <a:endParaRPr kumimoji="0" lang="en-IE" sz="10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6" name="Flowchart: Direct Access Storage 15"/>
          <p:cNvSpPr/>
          <p:nvPr/>
        </p:nvSpPr>
        <p:spPr bwMode="auto">
          <a:xfrm>
            <a:off x="6910641" y="2582517"/>
            <a:ext cx="831830" cy="475081"/>
          </a:xfrm>
          <a:prstGeom prst="flowChartMagneticDrum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2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ES</a:t>
            </a:r>
            <a:endParaRPr kumimoji="0" lang="en-IE" sz="120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74" name="Rounded Rectangle 73"/>
          <p:cNvSpPr/>
          <p:nvPr/>
        </p:nvSpPr>
        <p:spPr bwMode="auto">
          <a:xfrm>
            <a:off x="3759165" y="3967054"/>
            <a:ext cx="2449604" cy="36313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6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          </a:t>
            </a:r>
            <a:r>
              <a:rPr lang="en-IE" sz="11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Application Service</a:t>
            </a:r>
            <a:endParaRPr kumimoji="0" lang="en-IE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cxnSp>
        <p:nvCxnSpPr>
          <p:cNvPr id="76" name="Straight Arrow Connector 75"/>
          <p:cNvCxnSpPr>
            <a:stCxn id="74" idx="2"/>
            <a:endCxn id="23" idx="1"/>
          </p:cNvCxnSpPr>
          <p:nvPr/>
        </p:nvCxnSpPr>
        <p:spPr bwMode="auto">
          <a:xfrm flipH="1">
            <a:off x="4175080" y="4330184"/>
            <a:ext cx="808887" cy="585267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>
            <a:stCxn id="74" idx="2"/>
            <a:endCxn id="24" idx="0"/>
          </p:cNvCxnSpPr>
          <p:nvPr/>
        </p:nvCxnSpPr>
        <p:spPr bwMode="auto">
          <a:xfrm>
            <a:off x="4983967" y="4330184"/>
            <a:ext cx="770362" cy="585267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7" name="TextBox 86"/>
          <p:cNvSpPr txBox="1"/>
          <p:nvPr/>
        </p:nvSpPr>
        <p:spPr>
          <a:xfrm>
            <a:off x="5621378" y="4412218"/>
            <a:ext cx="2121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b="1" dirty="0" smtClean="0">
                <a:solidFill>
                  <a:schemeClr val="tx2"/>
                </a:solidFill>
              </a:rPr>
              <a:t>CRUD</a:t>
            </a:r>
            <a:r>
              <a:rPr lang="en-IE" dirty="0" smtClean="0"/>
              <a:t> operations </a:t>
            </a:r>
            <a:endParaRPr lang="en-IE" dirty="0"/>
          </a:p>
        </p:txBody>
      </p:sp>
      <p:sp>
        <p:nvSpPr>
          <p:cNvPr id="23" name="Can 22"/>
          <p:cNvSpPr/>
          <p:nvPr/>
        </p:nvSpPr>
        <p:spPr bwMode="auto">
          <a:xfrm>
            <a:off x="3759165" y="4915451"/>
            <a:ext cx="831830" cy="485224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E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108" charset="-128"/>
              </a:rPr>
              <a:t> </a:t>
            </a:r>
            <a:r>
              <a:rPr kumimoji="0" lang="en-IE" sz="9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108" charset="-128"/>
              </a:rPr>
              <a:t> </a:t>
            </a:r>
            <a:r>
              <a:rPr kumimoji="0" lang="en-IE" sz="900" b="1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108" charset="-128"/>
              </a:rPr>
              <a:t>Carrier</a:t>
            </a:r>
            <a:r>
              <a:rPr kumimoji="0" lang="en-IE" sz="1000" b="1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108" charset="-128"/>
              </a:rPr>
              <a:t>D</a:t>
            </a:r>
            <a:r>
              <a:rPr lang="en-IE" sz="1000" b="1" dirty="0" err="1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B</a:t>
            </a:r>
            <a:endParaRPr kumimoji="0" lang="en-IE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  <p:sp>
        <p:nvSpPr>
          <p:cNvPr id="24" name="Flowchart: Direct Access Storage 23"/>
          <p:cNvSpPr/>
          <p:nvPr/>
        </p:nvSpPr>
        <p:spPr bwMode="auto">
          <a:xfrm>
            <a:off x="5338414" y="4915451"/>
            <a:ext cx="831830" cy="485224"/>
          </a:xfrm>
          <a:prstGeom prst="flowChartMagneticDrum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IE" sz="1200" dirty="0" smtClean="0">
                <a:solidFill>
                  <a:schemeClr val="bg1"/>
                </a:solidFill>
                <a:latin typeface="Arial" charset="0"/>
                <a:ea typeface="ＭＳ Ｐゴシック" pitchFamily="108" charset="-128"/>
              </a:rPr>
              <a:t>ES</a:t>
            </a:r>
            <a:endParaRPr kumimoji="0" lang="en-IE" sz="120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01506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00026"/>
            <a:ext cx="8915400" cy="669925"/>
          </a:xfrm>
        </p:spPr>
        <p:txBody>
          <a:bodyPr/>
          <a:lstStyle/>
          <a:p>
            <a:r>
              <a:rPr lang="en-US" sz="2000" b="1" dirty="0" smtClean="0"/>
              <a:t>Performance and DSL Query – Theory behind the scenes</a:t>
            </a:r>
            <a:endParaRPr lang="en-US" sz="2000" b="1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381000" y="1000125"/>
            <a:ext cx="9144000" cy="5153026"/>
          </a:xfrm>
          <a:ln>
            <a:noFill/>
          </a:ln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 smtClean="0">
                <a:solidFill>
                  <a:schemeClr val="bg2">
                    <a:lumMod val="75000"/>
                  </a:schemeClr>
                </a:solidFill>
              </a:rPr>
              <a:t>BitSets</a:t>
            </a:r>
            <a:r>
              <a:rPr lang="en-GB" sz="1200" dirty="0" smtClean="0">
                <a:solidFill>
                  <a:schemeClr val="bg2">
                    <a:lumMod val="75000"/>
                  </a:schemeClr>
                </a:solidFill>
              </a:rPr>
              <a:t> Filter (bool)  </a:t>
            </a:r>
            <a:r>
              <a:rPr lang="en-GB" sz="1200" dirty="0">
                <a:solidFill>
                  <a:schemeClr val="bg2">
                    <a:lumMod val="75000"/>
                  </a:schemeClr>
                </a:solidFill>
              </a:rPr>
              <a:t>(</a:t>
            </a:r>
            <a:r>
              <a:rPr lang="en-GB" sz="1000" dirty="0">
                <a:solidFill>
                  <a:schemeClr val="bg2">
                    <a:lumMod val="75000"/>
                  </a:schemeClr>
                </a:solidFill>
                <a:hlinkClick r:id="rId3"/>
              </a:rPr>
              <a:t>https://</a:t>
            </a:r>
            <a:r>
              <a:rPr lang="en-GB" sz="1000" dirty="0" smtClean="0">
                <a:solidFill>
                  <a:schemeClr val="bg2">
                    <a:lumMod val="75000"/>
                  </a:schemeClr>
                </a:solidFill>
                <a:hlinkClick r:id="rId3"/>
              </a:rPr>
              <a:t>en.wikipedia.org/wiki/Bit_array</a:t>
            </a:r>
            <a:r>
              <a:rPr lang="en-GB" sz="1200" dirty="0">
                <a:solidFill>
                  <a:schemeClr val="bg2">
                    <a:lumMod val="75000"/>
                  </a:schemeClr>
                </a:solidFill>
              </a:rPr>
              <a:t>) </a:t>
            </a:r>
            <a:r>
              <a:rPr lang="en-GB" sz="1200" dirty="0" smtClean="0">
                <a:solidFill>
                  <a:schemeClr val="bg2">
                    <a:lumMod val="75000"/>
                  </a:schemeClr>
                </a:solidFill>
              </a:rPr>
              <a:t> (</a:t>
            </a:r>
            <a:r>
              <a:rPr lang="en-GB" sz="1000" dirty="0">
                <a:solidFill>
                  <a:schemeClr val="bg2">
                    <a:lumMod val="75000"/>
                  </a:schemeClr>
                </a:solidFill>
                <a:hlinkClick r:id="rId4"/>
              </a:rPr>
              <a:t>https://www.elastic.co/blog/all-about-elasticsearch-filter-bitsets</a:t>
            </a:r>
            <a:r>
              <a:rPr lang="en-GB" sz="1200" dirty="0">
                <a:solidFill>
                  <a:schemeClr val="bg2">
                    <a:lumMod val="75000"/>
                  </a:schemeClr>
                </a:solidFill>
              </a:rPr>
              <a:t>) </a:t>
            </a:r>
            <a:endParaRPr lang="en-GB" sz="12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857250" lvl="2" indent="-285750">
              <a:buFont typeface="Arial" panose="020B0604020202020204" pitchFamily="34" charset="0"/>
              <a:buChar char="•"/>
            </a:pPr>
            <a:r>
              <a:rPr lang="en-GB" sz="1000" b="1" dirty="0" smtClean="0">
                <a:solidFill>
                  <a:schemeClr val="bg2">
                    <a:lumMod val="75000"/>
                  </a:schemeClr>
                </a:solidFill>
              </a:rPr>
              <a:t>After the first execution the query will be cached since Elastic search has been restarted </a:t>
            </a:r>
          </a:p>
          <a:p>
            <a:pPr marL="857250" lvl="2" indent="-285750">
              <a:buFont typeface="Arial" panose="020B0604020202020204" pitchFamily="34" charset="0"/>
              <a:buChar char="•"/>
            </a:pPr>
            <a:r>
              <a:rPr lang="en-GB" sz="1000" b="1" dirty="0" smtClean="0">
                <a:solidFill>
                  <a:schemeClr val="bg2">
                    <a:lumMod val="75000"/>
                  </a:schemeClr>
                </a:solidFill>
              </a:rPr>
              <a:t>No Query validator </a:t>
            </a:r>
          </a:p>
          <a:p>
            <a:pPr marL="857250" lvl="2" indent="-285750">
              <a:buFont typeface="Arial" panose="020B0604020202020204" pitchFamily="34" charset="0"/>
              <a:buChar char="•"/>
            </a:pPr>
            <a:r>
              <a:rPr lang="en-GB" sz="1000" b="1" dirty="0" smtClean="0">
                <a:solidFill>
                  <a:schemeClr val="bg2">
                    <a:lumMod val="75000"/>
                  </a:schemeClr>
                </a:solidFill>
              </a:rPr>
              <a:t>Support Multiple operation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chemeClr val="bg2">
                    <a:lumMod val="75000"/>
                  </a:schemeClr>
                </a:solidFill>
              </a:rPr>
              <a:t>_</a:t>
            </a:r>
            <a:r>
              <a:rPr lang="en-GB" sz="1200" dirty="0" smtClean="0">
                <a:solidFill>
                  <a:schemeClr val="bg2">
                    <a:lumMod val="75000"/>
                  </a:schemeClr>
                </a:solidFill>
              </a:rPr>
              <a:t>Parent /_Child (</a:t>
            </a:r>
            <a:r>
              <a:rPr lang="en-GB" sz="900" dirty="0" smtClean="0">
                <a:solidFill>
                  <a:schemeClr val="bg2">
                    <a:lumMod val="75000"/>
                  </a:schemeClr>
                </a:solidFill>
              </a:rPr>
              <a:t>Join data between different Type of data</a:t>
            </a:r>
            <a:r>
              <a:rPr lang="en-GB" sz="1200" dirty="0" smtClean="0">
                <a:solidFill>
                  <a:schemeClr val="bg2">
                    <a:lumMod val="75000"/>
                  </a:schemeClr>
                </a:solidFill>
              </a:rPr>
              <a:t>)  (</a:t>
            </a:r>
            <a:r>
              <a:rPr lang="en-GB" sz="1000" dirty="0" smtClean="0">
                <a:solidFill>
                  <a:schemeClr val="bg2">
                    <a:lumMod val="75000"/>
                  </a:schemeClr>
                </a:solidFill>
                <a:hlinkClick r:id="rId5"/>
              </a:rPr>
              <a:t>https://www.elastic.co/guide/en/elasticsearch/reference/current/mapping-parent-field.html</a:t>
            </a:r>
            <a:r>
              <a:rPr lang="en-GB" sz="1200" dirty="0" smtClean="0">
                <a:solidFill>
                  <a:schemeClr val="bg2">
                    <a:lumMod val="75000"/>
                  </a:schemeClr>
                </a:solidFill>
              </a:rPr>
              <a:t>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000" b="1" dirty="0" smtClean="0">
                <a:solidFill>
                  <a:schemeClr val="bg2">
                    <a:lumMod val="75000"/>
                  </a:schemeClr>
                </a:solidFill>
              </a:rPr>
              <a:t>Better performance Insert/Update Operations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000" b="1" dirty="0" smtClean="0">
                <a:solidFill>
                  <a:schemeClr val="bg2">
                    <a:lumMod val="75000"/>
                  </a:schemeClr>
                </a:solidFill>
              </a:rPr>
              <a:t>Reduce size of the Main Document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[</a:t>
            </a:r>
            <a:r>
              <a:rPr lang="en-GB" sz="1000" b="1" dirty="0">
                <a:solidFill>
                  <a:srgbClr val="FF0000"/>
                </a:solidFill>
              </a:rPr>
              <a:t>Constraint</a:t>
            </a:r>
            <a:r>
              <a:rPr lang="en-GB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]</a:t>
            </a:r>
            <a:r>
              <a:rPr lang="en-GB" sz="1000" b="1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GB" sz="1000" b="1" dirty="0" smtClean="0">
                <a:solidFill>
                  <a:schemeClr val="bg2">
                    <a:lumMod val="75000"/>
                  </a:schemeClr>
                </a:solidFill>
              </a:rPr>
              <a:t>One to Many relationship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bg2">
                    <a:lumMod val="75000"/>
                  </a:schemeClr>
                </a:solidFill>
              </a:rPr>
              <a:t>Relevance </a:t>
            </a:r>
            <a:r>
              <a:rPr lang="en-GB" sz="1200" dirty="0">
                <a:solidFill>
                  <a:schemeClr val="bg2">
                    <a:lumMod val="75000"/>
                  </a:schemeClr>
                </a:solidFill>
              </a:rPr>
              <a:t>– </a:t>
            </a:r>
            <a:r>
              <a:rPr lang="en-GB" sz="1200" dirty="0" smtClean="0">
                <a:solidFill>
                  <a:schemeClr val="bg2">
                    <a:lumMod val="75000"/>
                  </a:schemeClr>
                </a:solidFill>
              </a:rPr>
              <a:t>(</a:t>
            </a:r>
            <a:r>
              <a:rPr lang="en-GB" sz="800" dirty="0">
                <a:solidFill>
                  <a:schemeClr val="bg2">
                    <a:lumMod val="75000"/>
                  </a:schemeClr>
                </a:solidFill>
              </a:rPr>
              <a:t>https://www.elastic.co/guide/en/elasticsearch/guide/current/relevance-intro.html</a:t>
            </a:r>
            <a:r>
              <a:rPr lang="en-GB" sz="1200" dirty="0" smtClean="0">
                <a:solidFill>
                  <a:schemeClr val="bg2">
                    <a:lumMod val="75000"/>
                  </a:schemeClr>
                </a:solidFill>
              </a:rPr>
              <a:t>)</a:t>
            </a:r>
            <a:endParaRPr lang="en-GB" sz="1200" dirty="0">
              <a:solidFill>
                <a:schemeClr val="bg2">
                  <a:lumMod val="75000"/>
                </a:schemeClr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chemeClr val="bg2">
                    <a:lumMod val="75000"/>
                  </a:schemeClr>
                </a:solidFill>
              </a:rPr>
              <a:t>Theory (https://</a:t>
            </a:r>
            <a:r>
              <a:rPr lang="en-GB" sz="1000" b="1" dirty="0" smtClean="0">
                <a:solidFill>
                  <a:schemeClr val="bg2">
                    <a:lumMod val="75000"/>
                  </a:schemeClr>
                </a:solidFill>
              </a:rPr>
              <a:t>www.elastic.co/guide/en/elasticsearch/guide/current/scoring-theory.html)</a:t>
            </a:r>
            <a:endParaRPr lang="en-GB" sz="1000" b="1" dirty="0">
              <a:solidFill>
                <a:schemeClr val="bg2">
                  <a:lumMod val="75000"/>
                </a:schemeClr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000" b="1" i="1" dirty="0" smtClean="0">
                <a:solidFill>
                  <a:schemeClr val="bg2">
                    <a:lumMod val="75000"/>
                  </a:schemeClr>
                </a:solidFill>
              </a:rPr>
              <a:t>Vector space Model </a:t>
            </a:r>
            <a:r>
              <a:rPr lang="en-GB" sz="1000" b="1" dirty="0">
                <a:solidFill>
                  <a:schemeClr val="bg2">
                    <a:lumMod val="75000"/>
                  </a:schemeClr>
                </a:solidFill>
              </a:rPr>
              <a:t>: </a:t>
            </a:r>
            <a:r>
              <a:rPr lang="en-GB" sz="1000" b="1" dirty="0" smtClean="0">
                <a:solidFill>
                  <a:schemeClr val="bg2">
                    <a:lumMod val="75000"/>
                  </a:schemeClr>
                </a:solidFill>
              </a:rPr>
              <a:t>(https</a:t>
            </a:r>
            <a:r>
              <a:rPr lang="en-GB" sz="1000" b="1" dirty="0">
                <a:solidFill>
                  <a:schemeClr val="bg2">
                    <a:lumMod val="75000"/>
                  </a:schemeClr>
                </a:solidFill>
              </a:rPr>
              <a:t>://</a:t>
            </a:r>
            <a:r>
              <a:rPr lang="en-GB" sz="1000" b="1" dirty="0" smtClean="0">
                <a:solidFill>
                  <a:schemeClr val="bg2">
                    <a:lumMod val="75000"/>
                  </a:schemeClr>
                </a:solidFill>
              </a:rPr>
              <a:t>en.wikipedia.org/wiki/Vector_space_model)</a:t>
            </a:r>
            <a:endParaRPr lang="en-GB" sz="1000" b="1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bg2">
                    <a:lumMod val="75000"/>
                  </a:schemeClr>
                </a:solidFill>
              </a:rPr>
              <a:t>Function score Query – (</a:t>
            </a:r>
            <a:r>
              <a:rPr lang="en-GB" sz="800" dirty="0" smtClean="0">
                <a:solidFill>
                  <a:schemeClr val="bg2">
                    <a:lumMod val="75000"/>
                  </a:schemeClr>
                </a:solidFill>
                <a:hlinkClick r:id="rId6"/>
              </a:rPr>
              <a:t>https://www.elastic.co/guide/en/elasticsearch/reference/current/query-dsl-function-score-query.htm</a:t>
            </a:r>
            <a:r>
              <a:rPr lang="en-GB" sz="1200" dirty="0" smtClean="0">
                <a:solidFill>
                  <a:schemeClr val="bg2">
                    <a:lumMod val="75000"/>
                  </a:schemeClr>
                </a:solidFill>
                <a:hlinkClick r:id="rId6"/>
              </a:rPr>
              <a:t>l</a:t>
            </a:r>
            <a:r>
              <a:rPr lang="en-GB" sz="1200" dirty="0" smtClean="0">
                <a:solidFill>
                  <a:schemeClr val="bg2">
                    <a:lumMod val="75000"/>
                  </a:schemeClr>
                </a:solidFill>
              </a:rPr>
              <a:t>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000" b="1" dirty="0" smtClean="0">
                <a:solidFill>
                  <a:schemeClr val="bg2">
                    <a:lumMod val="75000"/>
                  </a:schemeClr>
                </a:solidFill>
              </a:rPr>
              <a:t>Allow </a:t>
            </a:r>
            <a:r>
              <a:rPr lang="en-GB" sz="1000" b="1" dirty="0">
                <a:solidFill>
                  <a:schemeClr val="bg2">
                    <a:lumMod val="75000"/>
                  </a:schemeClr>
                </a:solidFill>
              </a:rPr>
              <a:t>to modify the score of the document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000" b="1" i="1" dirty="0">
                <a:solidFill>
                  <a:schemeClr val="bg2">
                    <a:lumMod val="75000"/>
                  </a:schemeClr>
                </a:solidFill>
              </a:rPr>
              <a:t>Example</a:t>
            </a:r>
            <a:r>
              <a:rPr lang="en-GB" sz="1000" b="1" dirty="0">
                <a:solidFill>
                  <a:schemeClr val="bg2">
                    <a:lumMod val="75000"/>
                  </a:schemeClr>
                </a:solidFill>
              </a:rPr>
              <a:t>  : Favourites or Deal Size in Pipelin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bg2">
                    <a:lumMod val="75000"/>
                  </a:schemeClr>
                </a:solidFill>
              </a:rPr>
              <a:t>Powerful Search / Aggregation </a:t>
            </a:r>
            <a:r>
              <a:rPr lang="en-GB" sz="1200" dirty="0">
                <a:solidFill>
                  <a:schemeClr val="bg2">
                    <a:lumMod val="75000"/>
                  </a:schemeClr>
                </a:solidFill>
              </a:rPr>
              <a:t>Framework </a:t>
            </a:r>
            <a:endParaRPr lang="en-GB" sz="1200" dirty="0" smtClean="0">
              <a:solidFill>
                <a:schemeClr val="bg2">
                  <a:lumMod val="75000"/>
                </a:schemeClr>
              </a:solidFill>
            </a:endParaRP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chemeClr val="bg2">
                    <a:lumMod val="75000"/>
                  </a:schemeClr>
                </a:solidFill>
              </a:rPr>
              <a:t> Aggregations :  </a:t>
            </a:r>
            <a:r>
              <a:rPr lang="en-GB" sz="1000" dirty="0" smtClean="0">
                <a:solidFill>
                  <a:schemeClr val="bg2">
                    <a:lumMod val="75000"/>
                  </a:schemeClr>
                </a:solidFill>
                <a:hlinkClick r:id="rId7"/>
              </a:rPr>
              <a:t>https</a:t>
            </a:r>
            <a:r>
              <a:rPr lang="en-GB" sz="1000" dirty="0">
                <a:solidFill>
                  <a:schemeClr val="bg2">
                    <a:lumMod val="75000"/>
                  </a:schemeClr>
                </a:solidFill>
                <a:hlinkClick r:id="rId7"/>
              </a:rPr>
              <a:t>://</a:t>
            </a:r>
            <a:r>
              <a:rPr lang="en-GB" sz="1000" dirty="0" smtClean="0">
                <a:solidFill>
                  <a:schemeClr val="bg2">
                    <a:lumMod val="75000"/>
                  </a:schemeClr>
                </a:solidFill>
                <a:hlinkClick r:id="rId7"/>
              </a:rPr>
              <a:t>www.elastic.co/guide/en/elasticsearch/reference/current/search-aggregations.html</a:t>
            </a:r>
            <a:r>
              <a:rPr lang="en-GB" sz="1000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GB" sz="1000" dirty="0">
                <a:solidFill>
                  <a:schemeClr val="bg2">
                    <a:lumMod val="75000"/>
                  </a:schemeClr>
                </a:solidFill>
              </a:rPr>
              <a:t>) </a:t>
            </a:r>
            <a:endParaRPr lang="en-GB" sz="1000" dirty="0" smtClean="0">
              <a:solidFill>
                <a:schemeClr val="bg2">
                  <a:lumMod val="75000"/>
                </a:schemeClr>
              </a:solidFill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chemeClr val="bg2">
                    <a:lumMod val="75000"/>
                  </a:schemeClr>
                </a:solidFill>
              </a:rPr>
              <a:t> Search : ( </a:t>
            </a:r>
            <a:r>
              <a:rPr lang="en-GB" sz="1000" dirty="0" smtClean="0">
                <a:solidFill>
                  <a:schemeClr val="bg2">
                    <a:lumMod val="75000"/>
                  </a:schemeClr>
                </a:solidFill>
                <a:hlinkClick r:id="rId8"/>
              </a:rPr>
              <a:t>https</a:t>
            </a:r>
            <a:r>
              <a:rPr lang="en-GB" sz="1000" dirty="0">
                <a:solidFill>
                  <a:schemeClr val="bg2">
                    <a:lumMod val="75000"/>
                  </a:schemeClr>
                </a:solidFill>
                <a:hlinkClick r:id="rId8"/>
              </a:rPr>
              <a:t>://</a:t>
            </a:r>
            <a:r>
              <a:rPr lang="en-GB" sz="1000" dirty="0" smtClean="0">
                <a:solidFill>
                  <a:schemeClr val="bg2">
                    <a:lumMod val="75000"/>
                  </a:schemeClr>
                </a:solidFill>
                <a:hlinkClick r:id="rId8"/>
              </a:rPr>
              <a:t>www.elastic.co/guide/en/elasticsearch/reference/current/search-search.html</a:t>
            </a:r>
            <a:r>
              <a:rPr lang="en-GB" sz="1000" dirty="0" smtClean="0">
                <a:solidFill>
                  <a:schemeClr val="bg2">
                    <a:lumMod val="75000"/>
                  </a:schemeClr>
                </a:solidFill>
              </a:rPr>
              <a:t> )</a:t>
            </a:r>
            <a:endParaRPr lang="en-GB" sz="1000" b="1" dirty="0">
              <a:solidFill>
                <a:schemeClr val="bg1">
                  <a:lumMod val="50000"/>
                </a:schemeClr>
              </a:solidFill>
            </a:endParaRPr>
          </a:p>
          <a:p>
            <a:pPr lvl="1"/>
            <a:endParaRPr lang="en-GB" sz="1000" b="1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688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I 2017 Strategy - ACIA Dublin - Discovery stage projects">
  <a:themeElements>
    <a:clrScheme name="Aon Inpoint - Consulting">
      <a:dk1>
        <a:srgbClr val="000000"/>
      </a:dk1>
      <a:lt1>
        <a:srgbClr val="FFFFFF"/>
      </a:lt1>
      <a:dk2>
        <a:srgbClr val="E11B22"/>
      </a:dk2>
      <a:lt2>
        <a:srgbClr val="4D4F53"/>
      </a:lt2>
      <a:accent1>
        <a:srgbClr val="6E267B"/>
      </a:accent1>
      <a:accent2>
        <a:srgbClr val="7AB800"/>
      </a:accent2>
      <a:accent3>
        <a:srgbClr val="0039A6"/>
      </a:accent3>
      <a:accent4>
        <a:srgbClr val="0083A9"/>
      </a:accent4>
      <a:accent5>
        <a:srgbClr val="4F4C25"/>
      </a:accent5>
      <a:accent6>
        <a:srgbClr val="F0AB00"/>
      </a:accent6>
      <a:hlink>
        <a:srgbClr val="0039A6"/>
      </a:hlink>
      <a:folHlink>
        <a:srgbClr val="0083A9"/>
      </a:folHlink>
    </a:clrScheme>
    <a:fontScheme name="Aon_PowerPoint_Template_NoImage-3-0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0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08" charset="-128"/>
          </a:defRPr>
        </a:defPPr>
      </a:lstStyle>
    </a:lnDef>
  </a:objectDefaults>
  <a:extraClrSchemeLst>
    <a:extraClrScheme>
      <a:clrScheme name="Aon_PowerPoint_Template_NoImage-3-0 1">
        <a:dk1>
          <a:srgbClr val="000000"/>
        </a:dk1>
        <a:lt1>
          <a:srgbClr val="FFFFFF"/>
        </a:lt1>
        <a:dk2>
          <a:srgbClr val="5EB6E4"/>
        </a:dk2>
        <a:lt2>
          <a:srgbClr val="4D4F53"/>
        </a:lt2>
        <a:accent1>
          <a:srgbClr val="C9CAC8"/>
        </a:accent1>
        <a:accent2>
          <a:srgbClr val="7AB800"/>
        </a:accent2>
        <a:accent3>
          <a:srgbClr val="FFFFFF"/>
        </a:accent3>
        <a:accent4>
          <a:srgbClr val="000000"/>
        </a:accent4>
        <a:accent5>
          <a:srgbClr val="E1E1E0"/>
        </a:accent5>
        <a:accent6>
          <a:srgbClr val="6EA600"/>
        </a:accent6>
        <a:hlink>
          <a:srgbClr val="F0AB00"/>
        </a:hlink>
        <a:folHlink>
          <a:srgbClr val="D3CD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I 2017 Strategy - ACIA Dublin - Discovery stage projects</Template>
  <TotalTime>14032</TotalTime>
  <Words>455</Words>
  <Application>Microsoft Office PowerPoint</Application>
  <PresentationFormat>A4 Paper (210x297 mm)</PresentationFormat>
  <Paragraphs>116</Paragraphs>
  <Slides>1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DAI 2017 Strategy - ACIA Dublin - Discovery stage projects</vt:lpstr>
      <vt:lpstr>think-cell Slide</vt:lpstr>
      <vt:lpstr>   Elasticsearch – Carrier RiskView</vt:lpstr>
      <vt:lpstr>Problems</vt:lpstr>
      <vt:lpstr>Why Elasticsearch</vt:lpstr>
      <vt:lpstr>How to ?</vt:lpstr>
      <vt:lpstr>Manage Relational Database in Elasticsearch</vt:lpstr>
      <vt:lpstr>Pipeline Opportunities - Use case</vt:lpstr>
      <vt:lpstr>_Parent / Child </vt:lpstr>
      <vt:lpstr>Architecture Flow – Solutions (based on the current situation)</vt:lpstr>
      <vt:lpstr>Performance and DSL Query – Theory behind the scenes</vt:lpstr>
      <vt:lpstr>Data Architecture Flow</vt:lpstr>
      <vt:lpstr>Conclusion</vt:lpstr>
    </vt:vector>
  </TitlesOfParts>
  <Company>A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: Carrier Delivery Phase 2 Technical Panel Assessment</dc:title>
  <dc:creator>Cristian Varela</dc:creator>
  <dc:description>Template – 2017 Objectives</dc:description>
  <cp:lastModifiedBy>Natnael Getu</cp:lastModifiedBy>
  <cp:revision>209</cp:revision>
  <cp:lastPrinted>2016-01-14T13:53:16Z</cp:lastPrinted>
  <dcterms:created xsi:type="dcterms:W3CDTF">2016-11-09T09:44:57Z</dcterms:created>
  <dcterms:modified xsi:type="dcterms:W3CDTF">2017-07-03T10:5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DC5F9D460563074A9B980EA8F4409CFC</vt:lpwstr>
  </property>
  <property fmtid="{D5CDD505-2E9C-101B-9397-08002B2CF9AE}" pid="4" name="Presentation">
    <vt:lpwstr>ACIA MBR (August DRAFT)</vt:lpwstr>
  </property>
  <property fmtid="{D5CDD505-2E9C-101B-9397-08002B2CF9AE}" pid="5" name="SlideDescription">
    <vt:lpwstr>Template – 2017 Objectives</vt:lpwstr>
  </property>
</Properties>
</file>